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3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729" r:id="rId4"/>
    <p:sldMasterId id="2147483810" r:id="rId5"/>
    <p:sldMasterId id="2147483882" r:id="rId6"/>
    <p:sldMasterId id="2147483905" r:id="rId7"/>
  </p:sldMasterIdLst>
  <p:notesMasterIdLst>
    <p:notesMasterId r:id="rId15"/>
  </p:notesMasterIdLst>
  <p:sldIdLst>
    <p:sldId id="299" r:id="rId8"/>
    <p:sldId id="2147482246" r:id="rId9"/>
    <p:sldId id="2147482249" r:id="rId10"/>
    <p:sldId id="2147376552" r:id="rId11"/>
    <p:sldId id="2147482237" r:id="rId12"/>
    <p:sldId id="2147376578" r:id="rId13"/>
    <p:sldId id="2147482250" r:id="rId14"/>
  </p:sldIdLst>
  <p:sldSz cx="12192000" cy="6858000"/>
  <p:notesSz cx="9363075" cy="7077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4078" userDrawn="1">
          <p15:clr>
            <a:srgbClr val="A4A3A4"/>
          </p15:clr>
        </p15:guide>
        <p15:guide id="3" pos="336" userDrawn="1">
          <p15:clr>
            <a:srgbClr val="A4A3A4"/>
          </p15:clr>
        </p15:guide>
        <p15:guide id="4" pos="7344" userDrawn="1">
          <p15:clr>
            <a:srgbClr val="A4A3A4"/>
          </p15:clr>
        </p15:guide>
        <p15:guide id="6" pos="7272" userDrawn="1">
          <p15:clr>
            <a:srgbClr val="A4A3A4"/>
          </p15:clr>
        </p15:guide>
        <p15:guide id="7" pos="408" userDrawn="1">
          <p15:clr>
            <a:srgbClr val="A4A3A4"/>
          </p15:clr>
        </p15:guide>
        <p15:guide id="12" orient="horz" pos="1214" userDrawn="1">
          <p15:clr>
            <a:srgbClr val="A4A3A4"/>
          </p15:clr>
        </p15:guide>
        <p15:guide id="13" orient="horz" pos="2660" userDrawn="1">
          <p15:clr>
            <a:srgbClr val="A4A3A4"/>
          </p15:clr>
        </p15:guide>
        <p15:guide id="14" pos="888" userDrawn="1">
          <p15:clr>
            <a:srgbClr val="A4A3A4"/>
          </p15:clr>
        </p15:guide>
        <p15:guide id="15" pos="5294" userDrawn="1">
          <p15:clr>
            <a:srgbClr val="A4A3A4"/>
          </p15:clr>
        </p15:guide>
        <p15:guide id="17" pos="62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58779C9-3E27-A2F3-BDCC-C400C31DEE07}" name="Pam Girardo" initials="PG" userId="S::pam.girardo@rhudy.biz::4a6f8a50-ec98-4cf0-a2dd-c89df8ec9695" providerId="AD"/>
  <p188:author id="{364039E8-9733-DA2E-865B-2DA19560D475}" name="Elizabeth Galloway" initials="EG" userId="S::Elizabeth.Galloway@brinks.com::93cabd19-0380-4353-99f7-0394200b01b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B00"/>
    <a:srgbClr val="E67632"/>
    <a:srgbClr val="0A498E"/>
    <a:srgbClr val="64CFE3"/>
    <a:srgbClr val="97CAEB"/>
    <a:srgbClr val="5FA4CE"/>
    <a:srgbClr val="54B046"/>
    <a:srgbClr val="0054A6"/>
    <a:srgbClr val="F9C940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484" autoAdjust="0"/>
    <p:restoredTop sz="97419" autoAdjust="0"/>
  </p:normalViewPr>
  <p:slideViewPr>
    <p:cSldViewPr snapToGrid="0">
      <p:cViewPr varScale="1">
        <p:scale>
          <a:sx n="72" d="100"/>
          <a:sy n="72" d="100"/>
        </p:scale>
        <p:origin x="84" y="912"/>
      </p:cViewPr>
      <p:guideLst>
        <p:guide pos="4078"/>
        <p:guide pos="336"/>
        <p:guide pos="7344"/>
        <p:guide pos="7272"/>
        <p:guide pos="408"/>
        <p:guide orient="horz" pos="1214"/>
        <p:guide orient="horz" pos="2660"/>
        <p:guide pos="888"/>
        <p:guide pos="5294"/>
        <p:guide pos="626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-8191"/>
    </p:cViewPr>
  </p:sorterViewPr>
  <p:notesViewPr>
    <p:cSldViewPr snapToGrid="0">
      <p:cViewPr varScale="1">
        <p:scale>
          <a:sx n="111" d="100"/>
          <a:sy n="111" d="100"/>
        </p:scale>
        <p:origin x="2528" y="2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elly McNeff" userId="0b94d823-4516-46af-9612-d55ea0565d54" providerId="ADAL" clId="{75F98886-5689-431F-BC97-3F619A161E52}"/>
    <pc:docChg chg="custSel delSld modSld">
      <pc:chgData name="Kelly McNeff" userId="0b94d823-4516-46af-9612-d55ea0565d54" providerId="ADAL" clId="{75F98886-5689-431F-BC97-3F619A161E52}" dt="2024-04-23T19:55:13.978" v="432" actId="47"/>
      <pc:docMkLst>
        <pc:docMk/>
      </pc:docMkLst>
      <pc:sldChg chg="modSp mod">
        <pc:chgData name="Kelly McNeff" userId="0b94d823-4516-46af-9612-d55ea0565d54" providerId="ADAL" clId="{75F98886-5689-431F-BC97-3F619A161E52}" dt="2024-04-23T19:41:57.037" v="431" actId="6549"/>
        <pc:sldMkLst>
          <pc:docMk/>
          <pc:sldMk cId="2692670331" sldId="2147376578"/>
        </pc:sldMkLst>
        <pc:spChg chg="mod">
          <ac:chgData name="Kelly McNeff" userId="0b94d823-4516-46af-9612-d55ea0565d54" providerId="ADAL" clId="{75F98886-5689-431F-BC97-3F619A161E52}" dt="2024-04-23T19:37:38.837" v="264" actId="20577"/>
          <ac:spMkLst>
            <pc:docMk/>
            <pc:sldMk cId="2692670331" sldId="2147376578"/>
            <ac:spMk id="7" creationId="{9B15C8BA-B65D-4770-3D4D-2B47EEAAC50D}"/>
          </ac:spMkLst>
        </pc:spChg>
        <pc:spChg chg="mod">
          <ac:chgData name="Kelly McNeff" userId="0b94d823-4516-46af-9612-d55ea0565d54" providerId="ADAL" clId="{75F98886-5689-431F-BC97-3F619A161E52}" dt="2024-04-23T19:38:58.053" v="298" actId="14100"/>
          <ac:spMkLst>
            <pc:docMk/>
            <pc:sldMk cId="2692670331" sldId="2147376578"/>
            <ac:spMk id="21" creationId="{08685130-6AAB-3687-CB87-9168C48E119F}"/>
          </ac:spMkLst>
        </pc:spChg>
        <pc:spChg chg="mod">
          <ac:chgData name="Kelly McNeff" userId="0b94d823-4516-46af-9612-d55ea0565d54" providerId="ADAL" clId="{75F98886-5689-431F-BC97-3F619A161E52}" dt="2024-04-23T19:37:20.771" v="241" actId="20577"/>
          <ac:spMkLst>
            <pc:docMk/>
            <pc:sldMk cId="2692670331" sldId="2147376578"/>
            <ac:spMk id="22" creationId="{25F590C6-4497-C0DE-C8BC-2E2055F51CE0}"/>
          </ac:spMkLst>
        </pc:spChg>
        <pc:spChg chg="mod">
          <ac:chgData name="Kelly McNeff" userId="0b94d823-4516-46af-9612-d55ea0565d54" providerId="ADAL" clId="{75F98886-5689-431F-BC97-3F619A161E52}" dt="2024-04-23T19:41:57.037" v="431" actId="6549"/>
          <ac:spMkLst>
            <pc:docMk/>
            <pc:sldMk cId="2692670331" sldId="2147376578"/>
            <ac:spMk id="23" creationId="{F5F522C6-40D7-F7B6-2BD0-81D568872E57}"/>
          </ac:spMkLst>
        </pc:spChg>
        <pc:grpChg chg="mod">
          <ac:chgData name="Kelly McNeff" userId="0b94d823-4516-46af-9612-d55ea0565d54" providerId="ADAL" clId="{75F98886-5689-431F-BC97-3F619A161E52}" dt="2024-04-23T19:38:59.987" v="299" actId="14100"/>
          <ac:grpSpMkLst>
            <pc:docMk/>
            <pc:sldMk cId="2692670331" sldId="2147376578"/>
            <ac:grpSpMk id="37" creationId="{3E7B3216-1C17-DD0F-7F67-05631B4EC1D8}"/>
          </ac:grpSpMkLst>
        </pc:grpChg>
      </pc:sldChg>
      <pc:sldChg chg="del">
        <pc:chgData name="Kelly McNeff" userId="0b94d823-4516-46af-9612-d55ea0565d54" providerId="ADAL" clId="{75F98886-5689-431F-BC97-3F619A161E52}" dt="2024-04-23T19:55:13.978" v="432" actId="47"/>
        <pc:sldMkLst>
          <pc:docMk/>
          <pc:sldMk cId="3438949634" sldId="2147482236"/>
        </pc:sldMkLst>
      </pc:sld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4-08T15:59:37.966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1 24575,'0'0'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4-08T15:59:12.063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0 24575,'0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4-08T18:14:02.973"/>
    </inkml:context>
    <inkml:brush xml:id="br0">
      <inkml:brushProperty name="width" value="0.05" units="cm"/>
      <inkml:brushProperty name="height" value="0.05" units="cm"/>
    </inkml:brush>
  </inkml:definitions>
  <inkml:trace contextRef="#ctx0" brushRef="#br0">0 1 24575,'0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057333" cy="355492"/>
          </a:xfrm>
          <a:prstGeom prst="rect">
            <a:avLst/>
          </a:prstGeom>
        </p:spPr>
        <p:txBody>
          <a:bodyPr vert="horz" lIns="92181" tIns="46090" rIns="92181" bIns="4609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303304" y="1"/>
            <a:ext cx="4057333" cy="355492"/>
          </a:xfrm>
          <a:prstGeom prst="rect">
            <a:avLst/>
          </a:prstGeom>
        </p:spPr>
        <p:txBody>
          <a:bodyPr vert="horz" lIns="92181" tIns="46090" rIns="92181" bIns="46090" rtlCol="0"/>
          <a:lstStyle>
            <a:lvl1pPr algn="r">
              <a:defRPr sz="1200"/>
            </a:lvl1pPr>
          </a:lstStyle>
          <a:p>
            <a:fld id="{9A63808A-486F-4877-8CA5-2E80E9DD6A4B}" type="datetimeFigureOut">
              <a:rPr lang="en-US" smtClean="0"/>
              <a:t>4/23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60638" y="884238"/>
            <a:ext cx="4241800" cy="23876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81" tIns="46090" rIns="92181" bIns="4609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36308" y="3405843"/>
            <a:ext cx="7490460" cy="2786597"/>
          </a:xfrm>
          <a:prstGeom prst="rect">
            <a:avLst/>
          </a:prstGeom>
        </p:spPr>
        <p:txBody>
          <a:bodyPr vert="horz" lIns="92181" tIns="46090" rIns="92181" bIns="4609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721584"/>
            <a:ext cx="4057333" cy="355491"/>
          </a:xfrm>
          <a:prstGeom prst="rect">
            <a:avLst/>
          </a:prstGeom>
        </p:spPr>
        <p:txBody>
          <a:bodyPr vert="horz" lIns="92181" tIns="46090" rIns="92181" bIns="4609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303304" y="6721584"/>
            <a:ext cx="4057333" cy="355491"/>
          </a:xfrm>
          <a:prstGeom prst="rect">
            <a:avLst/>
          </a:prstGeom>
        </p:spPr>
        <p:txBody>
          <a:bodyPr vert="horz" lIns="92181" tIns="46090" rIns="92181" bIns="46090" rtlCol="0" anchor="b"/>
          <a:lstStyle>
            <a:lvl1pPr algn="r">
              <a:defRPr sz="1200"/>
            </a:lvl1pPr>
          </a:lstStyle>
          <a:p>
            <a:fld id="{9D6B8A53-E74F-4F6C-B1E8-09DFA14DE22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08796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01EFCC-184B-004D-AFDD-C084AB2A591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7352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0663FF-5D9E-4349-92BC-B90A4C2C91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3882008"/>
            <a:ext cx="11102023" cy="590931"/>
          </a:xfrm>
          <a:prstGeom prst="rect">
            <a:avLst/>
          </a:prstGeom>
        </p:spPr>
        <p:txBody>
          <a:bodyPr anchor="t" anchorCtr="0"/>
          <a:lstStyle>
            <a:lvl1pPr>
              <a:defRPr sz="3600">
                <a:solidFill>
                  <a:srgbClr val="0A4A8E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998500-4A15-D14E-B3B4-F2DAC7317FE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8640" y="4542788"/>
            <a:ext cx="11102023" cy="400110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2000" cap="none" baseline="0">
                <a:solidFill>
                  <a:srgbClr val="0A4A8E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goes he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BB6E322-A43F-5745-A965-5D290070662C}"/>
              </a:ext>
            </a:extLst>
          </p:cNvPr>
          <p:cNvCxnSpPr>
            <a:cxnSpLocks/>
          </p:cNvCxnSpPr>
          <p:nvPr/>
        </p:nvCxnSpPr>
        <p:spPr>
          <a:xfrm>
            <a:off x="647700" y="4471191"/>
            <a:ext cx="11002963" cy="0"/>
          </a:xfrm>
          <a:prstGeom prst="line">
            <a:avLst/>
          </a:prstGeom>
          <a:ln w="6350">
            <a:solidFill>
              <a:srgbClr val="0A4A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F060E455-FF93-0846-B5FE-7F86C3868E0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3222" y="6251231"/>
            <a:ext cx="1541078" cy="270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3434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012A0-B153-1842-ABEA-FB2FEFBAB1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9F9FCDFC-9DCF-5E49-B920-D08BB6EE9D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822960"/>
            <a:ext cx="11094720" cy="3693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cap="none" baseline="0"/>
            </a:lvl1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4" name="Content Placeholder 12">
            <a:extLst>
              <a:ext uri="{FF2B5EF4-FFF2-40B4-BE49-F238E27FC236}">
                <a16:creationId xmlns:a16="http://schemas.microsoft.com/office/drawing/2014/main" id="{0D7A7698-3A39-2C40-97AC-850584A46EA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48640" y="1371600"/>
            <a:ext cx="11102023" cy="19389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F403F"/>
                </a:solidFill>
              </a:defRPr>
            </a:lvl1pPr>
            <a:lvl2pPr>
              <a:defRPr>
                <a:solidFill>
                  <a:srgbClr val="3F403F"/>
                </a:solidFill>
              </a:defRPr>
            </a:lvl2pPr>
            <a:lvl3pPr>
              <a:defRPr>
                <a:solidFill>
                  <a:srgbClr val="3F403F"/>
                </a:solidFill>
              </a:defRPr>
            </a:lvl3pPr>
            <a:lvl4pPr>
              <a:defRPr>
                <a:solidFill>
                  <a:srgbClr val="3F403F"/>
                </a:solidFill>
              </a:defRPr>
            </a:lvl4pPr>
            <a:lvl5pPr>
              <a:defRPr>
                <a:solidFill>
                  <a:srgbClr val="3F403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D3722815-2E28-221A-F9B3-1A8174838B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3676302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Financi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19F007-6DEA-3547-9B09-1A02E9F01D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9325" cy="424732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le Goes Here</a:t>
            </a:r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A0EF9924-310D-E74D-A518-CE3FEAC9E30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27779" y="924161"/>
            <a:ext cx="2218059" cy="2462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000" cap="none" baseline="0"/>
            </a:lvl1pPr>
          </a:lstStyle>
          <a:p>
            <a:pPr lvl="0"/>
            <a:r>
              <a:rPr lang="en-US" dirty="0"/>
              <a:t>(Millions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A62E99-FFF9-8B58-9227-1276A59069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3969815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, Subhead, Content &amp; Footnotes Half-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EC46CDE-4A2E-C441-B621-5DC180F786A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0"/>
            <a:ext cx="6094967" cy="6858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98C4DC-342E-3D4F-A221-7F2FF24C29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5332395" cy="42473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Title Goes Here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C75A6E48-4060-6C4A-AEA9-7558EA88532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822960"/>
            <a:ext cx="5332395" cy="3693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cap="none" baseline="0"/>
            </a:lvl1pPr>
          </a:lstStyle>
          <a:p>
            <a:r>
              <a:rPr lang="en-US" dirty="0"/>
              <a:t>Subhead goes here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D759AB29-1C2E-994E-AA90-5169C439859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48640" y="1371600"/>
            <a:ext cx="5332395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D499973-84DB-7E4C-87D2-BD79AA70AD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8640" y="6034414"/>
            <a:ext cx="5332395" cy="718145"/>
          </a:xfrm>
          <a:prstGeom prst="rect">
            <a:avLst/>
          </a:prstGeom>
        </p:spPr>
        <p:txBody>
          <a:bodyPr wrap="square" bIns="45720" anchor="b" anchorCtr="0">
            <a:spAutoFit/>
          </a:bodyPr>
          <a:lstStyle>
            <a:lvl1pPr marL="114300" indent="-114300">
              <a:lnSpc>
                <a:spcPct val="85000"/>
              </a:lnSpc>
              <a:spcAft>
                <a:spcPts val="200"/>
              </a:spcAft>
              <a:buFont typeface="+mj-lt"/>
              <a:buAutoNum type="arabicPeriod"/>
              <a:tabLst/>
              <a:defRPr sz="800"/>
            </a:lvl1pPr>
          </a:lstStyle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  <a:endParaRPr lang="en-US"/>
          </a:p>
        </p:txBody>
      </p:sp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25AD86F6-321C-4E65-0B27-63A9AA9375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ADC9B79E-0CEB-C065-9A13-23C8C3506B7B}"/>
              </a:ext>
            </a:extLst>
          </p:cNvPr>
          <p:cNvSpPr txBox="1">
            <a:spLocks/>
          </p:cNvSpPr>
          <p:nvPr userDrawn="1"/>
        </p:nvSpPr>
        <p:spPr>
          <a:xfrm>
            <a:off x="11004568" y="6521727"/>
            <a:ext cx="552432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b="0" kern="1200">
                <a:solidFill>
                  <a:srgbClr val="0A4A8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CA5BF-B763-1840-8654-29064379A303}" type="slidenum">
              <a:rPr lang="en-US" smtClean="0">
                <a:solidFill>
                  <a:srgbClr val="404040"/>
                </a:solidFill>
              </a:rPr>
              <a:pPr/>
              <a:t>‹#›</a:t>
            </a:fld>
            <a:endParaRPr lang="en-US" dirty="0">
              <a:solidFill>
                <a:srgbClr val="40404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98455A2-3830-6F4C-1D8B-560F9E302E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5863" y="6565392"/>
            <a:ext cx="834268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450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, Financials, Content &amp; Footnotes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D759AB29-1C2E-994E-AA90-5169C439859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48639" y="1371600"/>
            <a:ext cx="534924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00DD96F7-3E30-E843-BBFD-C82F3ED958D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310967" y="1371600"/>
            <a:ext cx="5347633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8CB1EED-E29E-B143-A692-EBE7695150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822960"/>
            <a:ext cx="8705719" cy="3693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cap="none" baseline="0"/>
            </a:lvl1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44061824-525E-1242-9087-C1A37679BB3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27779" y="924161"/>
            <a:ext cx="2218059" cy="2462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000" cap="none" baseline="0"/>
            </a:lvl1pPr>
          </a:lstStyle>
          <a:p>
            <a:pPr lvl="0"/>
            <a:r>
              <a:rPr lang="en-US" dirty="0"/>
              <a:t>(Millions)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3B5274F-5C3C-9140-8A8B-7F29E09A29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504ECEE0-BBF1-244E-83A5-1D4EC2B0EE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641" y="6034414"/>
            <a:ext cx="6156960" cy="718145"/>
          </a:xfrm>
          <a:prstGeom prst="rect">
            <a:avLst/>
          </a:prstGeom>
        </p:spPr>
        <p:txBody>
          <a:bodyPr wrap="square" bIns="45720" anchor="b" anchorCtr="0">
            <a:spAutoFit/>
          </a:bodyPr>
          <a:lstStyle>
            <a:lvl1pPr marL="114300" indent="-114300">
              <a:lnSpc>
                <a:spcPct val="85000"/>
              </a:lnSpc>
              <a:spcAft>
                <a:spcPts val="200"/>
              </a:spcAft>
              <a:buFont typeface="+mj-lt"/>
              <a:buAutoNum type="arabicPeriod"/>
              <a:tabLst/>
              <a:defRPr sz="800"/>
            </a:lvl1pPr>
          </a:lstStyle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  <a:endParaRPr lang="en-US"/>
          </a:p>
        </p:txBody>
      </p:sp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388CFF76-7BCF-8A4E-73D7-CB2D779C8F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2687889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19F007-6DEA-3547-9B09-1A02E9F01D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le Goes He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D880F95-F3FA-AD40-A9AD-BA6034C21D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1338" y="1143000"/>
            <a:ext cx="11116627" cy="197393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CE6781E5-62C5-15EE-4EE8-957FE5258F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1986427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, Financials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19F007-6DEA-3547-9B09-1A02E9F01D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le Goes He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D880F95-F3FA-AD40-A9AD-BA6034C21D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1338" y="1143000"/>
            <a:ext cx="11116627" cy="197393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D7FCDEEB-8F5E-4940-8309-A6C59D3E8C8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27779" y="924161"/>
            <a:ext cx="2218059" cy="2462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000" cap="none" baseline="0"/>
            </a:lvl1pPr>
          </a:lstStyle>
          <a:p>
            <a:pPr lvl="0"/>
            <a:r>
              <a:rPr lang="en-US" dirty="0"/>
              <a:t>(Millions)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0AD5690-AB7F-9D3C-1050-65E295305B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66445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&amp;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012A0-B153-1842-ABEA-FB2FEFBAB1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5551383F-84AB-8247-AB1C-3B17087488EE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48640" y="1143000"/>
            <a:ext cx="11102023" cy="1938992"/>
          </a:xfrm>
        </p:spPr>
        <p:txBody>
          <a:bodyPr/>
          <a:lstStyle>
            <a:lvl1pPr>
              <a:defRPr>
                <a:solidFill>
                  <a:srgbClr val="3F403F"/>
                </a:solidFill>
              </a:defRPr>
            </a:lvl1pPr>
            <a:lvl2pPr>
              <a:defRPr>
                <a:solidFill>
                  <a:srgbClr val="3F403F"/>
                </a:solidFill>
              </a:defRPr>
            </a:lvl2pPr>
            <a:lvl3pPr>
              <a:defRPr>
                <a:solidFill>
                  <a:srgbClr val="3F403F"/>
                </a:solidFill>
              </a:defRPr>
            </a:lvl3pPr>
            <a:lvl4pPr>
              <a:defRPr>
                <a:solidFill>
                  <a:srgbClr val="3F403F"/>
                </a:solidFill>
              </a:defRPr>
            </a:lvl4pPr>
            <a:lvl5pPr>
              <a:defRPr>
                <a:solidFill>
                  <a:srgbClr val="3F403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20999313-C7EB-1145-BAAF-0434E4187D1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641" y="6034414"/>
            <a:ext cx="6156960" cy="718145"/>
          </a:xfrm>
          <a:prstGeom prst="rect">
            <a:avLst/>
          </a:prstGeom>
        </p:spPr>
        <p:txBody>
          <a:bodyPr wrap="square" bIns="45720" anchor="b" anchorCtr="0">
            <a:spAutoFit/>
          </a:bodyPr>
          <a:lstStyle>
            <a:lvl1pPr marL="114300" indent="-114300">
              <a:lnSpc>
                <a:spcPct val="85000"/>
              </a:lnSpc>
              <a:spcAft>
                <a:spcPts val="200"/>
              </a:spcAft>
              <a:buFont typeface="+mj-lt"/>
              <a:buAutoNum type="arabicPeriod"/>
              <a:tabLst/>
              <a:defRPr sz="800"/>
            </a:lvl1pPr>
          </a:lstStyle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97272B6-84F2-6099-8B67-D5F7D43274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4012950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012A0-B153-1842-ABEA-FB2FEFBAB1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6CA72009-0D09-954A-9029-9B50E4D4B2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641" y="6034414"/>
            <a:ext cx="6156960" cy="718145"/>
          </a:xfrm>
          <a:prstGeom prst="rect">
            <a:avLst/>
          </a:prstGeom>
        </p:spPr>
        <p:txBody>
          <a:bodyPr wrap="square" bIns="45720" anchor="b" anchorCtr="0">
            <a:spAutoFit/>
          </a:bodyPr>
          <a:lstStyle>
            <a:lvl1pPr marL="114300" indent="-114300">
              <a:lnSpc>
                <a:spcPct val="85000"/>
              </a:lnSpc>
              <a:spcAft>
                <a:spcPts val="200"/>
              </a:spcAft>
              <a:buFont typeface="+mj-lt"/>
              <a:buAutoNum type="arabicPeriod"/>
              <a:tabLst/>
              <a:defRPr sz="800"/>
            </a:lvl1pPr>
          </a:lstStyle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512B0E60-6488-FD21-CD6E-88621D1C99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680810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B1096033-3328-A610-E2E9-CD27EA1DE9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3909565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otal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0311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0663FF-5D9E-4349-92BC-B90A4C2C91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3882008"/>
            <a:ext cx="11102023" cy="590931"/>
          </a:xfrm>
          <a:prstGeom prst="rect">
            <a:avLst/>
          </a:prstGeom>
        </p:spPr>
        <p:txBody>
          <a:bodyPr anchor="t" anchorCtr="0"/>
          <a:lstStyle>
            <a:lvl1pPr>
              <a:defRPr sz="3600">
                <a:solidFill>
                  <a:srgbClr val="0A4A8E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BB6E322-A43F-5745-A965-5D290070662C}"/>
              </a:ext>
            </a:extLst>
          </p:cNvPr>
          <p:cNvCxnSpPr>
            <a:cxnSpLocks/>
          </p:cNvCxnSpPr>
          <p:nvPr/>
        </p:nvCxnSpPr>
        <p:spPr>
          <a:xfrm>
            <a:off x="647700" y="4471191"/>
            <a:ext cx="11002963" cy="0"/>
          </a:xfrm>
          <a:prstGeom prst="line">
            <a:avLst/>
          </a:prstGeom>
          <a:ln w="6350">
            <a:solidFill>
              <a:srgbClr val="0A4A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CECB0760-4CFC-204D-AC25-4DF499FE174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3222" y="6251231"/>
            <a:ext cx="1541078" cy="270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765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0663FF-5D9E-4349-92BC-B90A4C2C91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3882008"/>
            <a:ext cx="11102023" cy="590931"/>
          </a:xfrm>
          <a:prstGeom prst="rect">
            <a:avLst/>
          </a:prstGeom>
        </p:spPr>
        <p:txBody>
          <a:bodyPr anchor="t" anchorCtr="0"/>
          <a:lstStyle>
            <a:lvl1pPr>
              <a:defRPr sz="3600">
                <a:solidFill>
                  <a:srgbClr val="0A4A8E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998500-4A15-D14E-B3B4-F2DAC7317FE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8640" y="4542788"/>
            <a:ext cx="11102023" cy="400110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2000" cap="none" baseline="0">
                <a:solidFill>
                  <a:srgbClr val="0A4A8E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goes he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BB6E322-A43F-5745-A965-5D290070662C}"/>
              </a:ext>
            </a:extLst>
          </p:cNvPr>
          <p:cNvCxnSpPr>
            <a:cxnSpLocks/>
          </p:cNvCxnSpPr>
          <p:nvPr/>
        </p:nvCxnSpPr>
        <p:spPr>
          <a:xfrm>
            <a:off x="647700" y="4471191"/>
            <a:ext cx="10881360" cy="0"/>
          </a:xfrm>
          <a:prstGeom prst="line">
            <a:avLst/>
          </a:prstGeom>
          <a:ln w="6350">
            <a:solidFill>
              <a:srgbClr val="0A4A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F060E455-FF93-0846-B5FE-7F86C3868E0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3222" y="6251231"/>
            <a:ext cx="1541078" cy="270256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A0E38D1-19A5-6741-94C4-E0967405926F}"/>
              </a:ext>
            </a:extLst>
          </p:cNvPr>
          <p:cNvCxnSpPr>
            <a:cxnSpLocks/>
          </p:cNvCxnSpPr>
          <p:nvPr userDrawn="1"/>
        </p:nvCxnSpPr>
        <p:spPr>
          <a:xfrm>
            <a:off x="647700" y="4471191"/>
            <a:ext cx="10899648" cy="0"/>
          </a:xfrm>
          <a:prstGeom prst="line">
            <a:avLst/>
          </a:prstGeom>
          <a:ln w="6350">
            <a:solidFill>
              <a:srgbClr val="0A4A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00E1751-1BE0-E64A-BEFE-3A673B1F01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3222" y="6251231"/>
            <a:ext cx="1541078" cy="270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2282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0663FF-5D9E-4349-92BC-B90A4C2C91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3882008"/>
            <a:ext cx="11102023" cy="590931"/>
          </a:xfrm>
          <a:prstGeom prst="rect">
            <a:avLst/>
          </a:prstGeom>
        </p:spPr>
        <p:txBody>
          <a:bodyPr anchor="t" anchorCtr="0"/>
          <a:lstStyle>
            <a:lvl1pPr>
              <a:defRPr sz="3600">
                <a:solidFill>
                  <a:srgbClr val="0A4A8E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BB6E322-A43F-5745-A965-5D290070662C}"/>
              </a:ext>
            </a:extLst>
          </p:cNvPr>
          <p:cNvCxnSpPr>
            <a:cxnSpLocks/>
          </p:cNvCxnSpPr>
          <p:nvPr/>
        </p:nvCxnSpPr>
        <p:spPr>
          <a:xfrm>
            <a:off x="647700" y="4471191"/>
            <a:ext cx="11002963" cy="0"/>
          </a:xfrm>
          <a:prstGeom prst="line">
            <a:avLst/>
          </a:prstGeom>
          <a:ln w="6350">
            <a:solidFill>
              <a:srgbClr val="0A4A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CECB0760-4CFC-204D-AC25-4DF499FE174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3222" y="6251231"/>
            <a:ext cx="1541078" cy="270256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A0E2467-AA50-8C47-8426-3D2920D6A7ED}"/>
              </a:ext>
            </a:extLst>
          </p:cNvPr>
          <p:cNvCxnSpPr>
            <a:cxnSpLocks/>
          </p:cNvCxnSpPr>
          <p:nvPr userDrawn="1"/>
        </p:nvCxnSpPr>
        <p:spPr>
          <a:xfrm>
            <a:off x="647700" y="4471191"/>
            <a:ext cx="11002963" cy="0"/>
          </a:xfrm>
          <a:prstGeom prst="line">
            <a:avLst/>
          </a:prstGeom>
          <a:ln w="6350">
            <a:solidFill>
              <a:srgbClr val="0A4A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D5D37B3-119A-D64E-8C47-2B640F5D9F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3222" y="6251231"/>
            <a:ext cx="1541078" cy="270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238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, Content, Financial &amp;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012A0-B153-1842-ABEA-FB2FEFBAB1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A5839A4-0860-054D-B56C-D9188887A0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822960"/>
            <a:ext cx="8705719" cy="3693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cap="none" baseline="0"/>
            </a:lvl1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5551383F-84AB-8247-AB1C-3B17087488EE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48640" y="1371600"/>
            <a:ext cx="11102023" cy="19389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F403F"/>
                </a:solidFill>
              </a:defRPr>
            </a:lvl1pPr>
            <a:lvl2pPr>
              <a:defRPr>
                <a:solidFill>
                  <a:srgbClr val="3F403F"/>
                </a:solidFill>
              </a:defRPr>
            </a:lvl2pPr>
            <a:lvl3pPr>
              <a:defRPr>
                <a:solidFill>
                  <a:srgbClr val="3F403F"/>
                </a:solidFill>
              </a:defRPr>
            </a:lvl3pPr>
            <a:lvl4pPr>
              <a:defRPr>
                <a:solidFill>
                  <a:srgbClr val="3F403F"/>
                </a:solidFill>
              </a:defRPr>
            </a:lvl4pPr>
            <a:lvl5pPr>
              <a:defRPr>
                <a:solidFill>
                  <a:srgbClr val="3F403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94E2E9D-E130-7649-9A4A-34557A92621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640" y="6035040"/>
            <a:ext cx="9317255" cy="671979"/>
          </a:xfrm>
          <a:prstGeom prst="rect">
            <a:avLst/>
          </a:prstGeom>
        </p:spPr>
        <p:txBody>
          <a:bodyPr wrap="square" bIns="0" anchor="b" anchorCtr="0">
            <a:spAutoFit/>
          </a:bodyPr>
          <a:lstStyle>
            <a:lvl1pPr marL="114300" indent="-114300">
              <a:lnSpc>
                <a:spcPct val="85000"/>
              </a:lnSpc>
              <a:spcAft>
                <a:spcPts val="200"/>
              </a:spcAft>
              <a:buFont typeface="+mj-lt"/>
              <a:buAutoNum type="arabicPeriod"/>
              <a:tabLst/>
              <a:defRPr sz="800"/>
            </a:lvl1pPr>
          </a:lstStyle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  <a:endParaRPr lang="en-US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0631FDE-FF59-3248-A30C-1C759C1963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27779" y="924161"/>
            <a:ext cx="2218059" cy="2462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000" cap="none" baseline="0"/>
            </a:lvl1pPr>
          </a:lstStyle>
          <a:p>
            <a:pPr lvl="0"/>
            <a:r>
              <a:rPr lang="en-US" dirty="0"/>
              <a:t>(Millions)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55624452-212D-6038-ACC8-BBE26CD98D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456664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Financ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012A0-B153-1842-ABEA-FB2FEFBAB1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0631FDE-FF59-3248-A30C-1C759C1963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27779" y="924161"/>
            <a:ext cx="2218059" cy="2462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000" cap="none" baseline="0"/>
            </a:lvl1pPr>
          </a:lstStyle>
          <a:p>
            <a:pPr lvl="0"/>
            <a:r>
              <a:rPr lang="en-US" dirty="0"/>
              <a:t>(Millions)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A945183-A827-F917-3A54-27EC53E44D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288991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, Financial &amp;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012A0-B153-1842-ABEA-FB2FEFBAB1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A5839A4-0860-054D-B56C-D9188887A0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822960"/>
            <a:ext cx="8705719" cy="3693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cap="none" baseline="0"/>
            </a:lvl1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94E2E9D-E130-7649-9A4A-34557A92621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640" y="6035040"/>
            <a:ext cx="9317255" cy="671979"/>
          </a:xfrm>
          <a:prstGeom prst="rect">
            <a:avLst/>
          </a:prstGeom>
        </p:spPr>
        <p:txBody>
          <a:bodyPr wrap="square" bIns="0" anchor="b" anchorCtr="0">
            <a:spAutoFit/>
          </a:bodyPr>
          <a:lstStyle>
            <a:lvl1pPr marL="114300" indent="-114300">
              <a:lnSpc>
                <a:spcPct val="85000"/>
              </a:lnSpc>
              <a:spcAft>
                <a:spcPts val="200"/>
              </a:spcAft>
              <a:buFont typeface="+mj-lt"/>
              <a:buAutoNum type="arabicPeriod"/>
              <a:tabLst/>
              <a:defRPr sz="800"/>
            </a:lvl1pPr>
          </a:lstStyle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  <a:endParaRPr lang="en-US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0631FDE-FF59-3248-A30C-1C759C1963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27779" y="924161"/>
            <a:ext cx="2218059" cy="2462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000" cap="none" baseline="0"/>
            </a:lvl1pPr>
          </a:lstStyle>
          <a:p>
            <a:pPr lvl="0"/>
            <a:r>
              <a:rPr lang="en-US" dirty="0"/>
              <a:t>(Millions)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CEBE8752-DAB8-F11B-EFD7-425CB6029B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3056521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Financial &amp;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012A0-B153-1842-ABEA-FB2FEFBAB1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94E2E9D-E130-7649-9A4A-34557A92621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640" y="6035040"/>
            <a:ext cx="9317255" cy="671979"/>
          </a:xfrm>
          <a:prstGeom prst="rect">
            <a:avLst/>
          </a:prstGeom>
        </p:spPr>
        <p:txBody>
          <a:bodyPr wrap="square" bIns="0" anchor="b" anchorCtr="0">
            <a:spAutoFit/>
          </a:bodyPr>
          <a:lstStyle>
            <a:lvl1pPr marL="114300" indent="-114300">
              <a:lnSpc>
                <a:spcPct val="85000"/>
              </a:lnSpc>
              <a:spcAft>
                <a:spcPts val="200"/>
              </a:spcAft>
              <a:buFont typeface="+mj-lt"/>
              <a:buAutoNum type="arabicPeriod"/>
              <a:tabLst/>
              <a:defRPr sz="800"/>
            </a:lvl1pPr>
          </a:lstStyle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  <a:endParaRPr lang="en-US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0631FDE-FF59-3248-A30C-1C759C1963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27779" y="924161"/>
            <a:ext cx="2218059" cy="2462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000" cap="none" baseline="0"/>
            </a:lvl1pPr>
          </a:lstStyle>
          <a:p>
            <a:pPr lvl="0"/>
            <a:r>
              <a:rPr lang="en-US" dirty="0"/>
              <a:t>(Millions)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FA5B4E64-85BF-FD17-83E5-674254C01C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941165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012A0-B153-1842-ABEA-FB2FEFBAB1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94E2E9D-E130-7649-9A4A-34557A92621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640" y="6035040"/>
            <a:ext cx="9317255" cy="671979"/>
          </a:xfrm>
          <a:prstGeom prst="rect">
            <a:avLst/>
          </a:prstGeom>
        </p:spPr>
        <p:txBody>
          <a:bodyPr wrap="square" bIns="0" anchor="b" anchorCtr="0">
            <a:spAutoFit/>
          </a:bodyPr>
          <a:lstStyle>
            <a:lvl1pPr marL="114300" indent="-114300">
              <a:lnSpc>
                <a:spcPct val="85000"/>
              </a:lnSpc>
              <a:spcAft>
                <a:spcPts val="200"/>
              </a:spcAft>
              <a:buFont typeface="+mj-lt"/>
              <a:buAutoNum type="arabicPeriod"/>
              <a:tabLst/>
              <a:defRPr sz="800"/>
            </a:lvl1pPr>
          </a:lstStyle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C27FBF00-B017-6E31-15AD-C37606D303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1516239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, Financial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012A0-B153-1842-ABEA-FB2FEFBAB1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5551383F-84AB-8247-AB1C-3B17087488EE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48640" y="1371600"/>
            <a:ext cx="11102023" cy="19389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F403F"/>
                </a:solidFill>
              </a:defRPr>
            </a:lvl1pPr>
            <a:lvl2pPr>
              <a:defRPr>
                <a:solidFill>
                  <a:srgbClr val="3F403F"/>
                </a:solidFill>
              </a:defRPr>
            </a:lvl2pPr>
            <a:lvl3pPr>
              <a:defRPr>
                <a:solidFill>
                  <a:srgbClr val="3F403F"/>
                </a:solidFill>
              </a:defRPr>
            </a:lvl3pPr>
            <a:lvl4pPr>
              <a:defRPr>
                <a:solidFill>
                  <a:srgbClr val="3F403F"/>
                </a:solidFill>
              </a:defRPr>
            </a:lvl4pPr>
            <a:lvl5pPr>
              <a:defRPr>
                <a:solidFill>
                  <a:srgbClr val="3F403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E9D0D49-6424-B54F-B884-EC83077F3A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822960"/>
            <a:ext cx="8705719" cy="3693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cap="none" baseline="0"/>
            </a:lvl1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2569076-FA3B-254E-94C8-0C8F676A724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27779" y="924161"/>
            <a:ext cx="2218059" cy="2462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000" cap="none" baseline="0"/>
            </a:lvl1pPr>
          </a:lstStyle>
          <a:p>
            <a:pPr lvl="0"/>
            <a:r>
              <a:rPr lang="en-US" dirty="0"/>
              <a:t>(Millions)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25E2E668-50BE-5F15-AB49-E37FC915A7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5081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Financials &amp;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012A0-B153-1842-ABEA-FB2FEFBAB1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2569076-FA3B-254E-94C8-0C8F676A724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27779" y="924161"/>
            <a:ext cx="2218059" cy="2462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000" cap="none" baseline="0"/>
            </a:lvl1pPr>
          </a:lstStyle>
          <a:p>
            <a:pPr lvl="0"/>
            <a:r>
              <a:rPr lang="en-US" dirty="0"/>
              <a:t>(Millions)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41A7A873-1E4A-9345-B31C-57ECE9F3E79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640" y="6035040"/>
            <a:ext cx="9317255" cy="671979"/>
          </a:xfrm>
          <a:prstGeom prst="rect">
            <a:avLst/>
          </a:prstGeom>
        </p:spPr>
        <p:txBody>
          <a:bodyPr wrap="square" bIns="0" anchor="b" anchorCtr="0">
            <a:spAutoFit/>
          </a:bodyPr>
          <a:lstStyle>
            <a:lvl1pPr marL="114300" indent="-114300">
              <a:lnSpc>
                <a:spcPct val="85000"/>
              </a:lnSpc>
              <a:spcAft>
                <a:spcPts val="200"/>
              </a:spcAft>
              <a:buFont typeface="+mj-lt"/>
              <a:buAutoNum type="arabicPeriod"/>
              <a:tabLst/>
              <a:defRPr sz="800"/>
            </a:lvl1pPr>
          </a:lstStyle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D38F7A6-2A8B-EAC4-18B4-6B66D8B495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2084255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Financ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012A0-B153-1842-ABEA-FB2FEFBAB1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9F9FCDFC-9DCF-5E49-B920-D08BB6EE9D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822960"/>
            <a:ext cx="8705719" cy="3693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cap="none" baseline="0"/>
            </a:lvl1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023CEB4-A427-5E47-831A-51FFAC0BF8D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27779" y="924161"/>
            <a:ext cx="2218059" cy="2462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000" cap="none" baseline="0"/>
            </a:lvl1pPr>
          </a:lstStyle>
          <a:p>
            <a:pPr lvl="0"/>
            <a:r>
              <a:rPr lang="en-US" dirty="0"/>
              <a:t>(Millions)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4B2226F0-21D9-CF04-2D7E-AD40DB1C1A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2381019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19F007-6DEA-3547-9B09-1A02E9F01D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9325" cy="424732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le Goes Here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633AC87-A392-75B2-5A9E-E0CFB3AB69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213284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012A0-B153-1842-ABEA-FB2FEFBAB1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9F9FCDFC-9DCF-5E49-B920-D08BB6EE9D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822960"/>
            <a:ext cx="11094720" cy="3693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cap="none" baseline="0"/>
            </a:lvl1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94C3862E-67A5-631E-CE81-57DBFCC7AE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37583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012A0-B153-1842-ABEA-FB2FEFBAB1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9F9FCDFC-9DCF-5E49-B920-D08BB6EE9D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822960"/>
            <a:ext cx="11094720" cy="3693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cap="none" baseline="0"/>
            </a:lvl1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4" name="Content Placeholder 12">
            <a:extLst>
              <a:ext uri="{FF2B5EF4-FFF2-40B4-BE49-F238E27FC236}">
                <a16:creationId xmlns:a16="http://schemas.microsoft.com/office/drawing/2014/main" id="{0D7A7698-3A39-2C40-97AC-850584A46EA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48640" y="1371600"/>
            <a:ext cx="11102023" cy="19389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F403F"/>
                </a:solidFill>
              </a:defRPr>
            </a:lvl1pPr>
            <a:lvl2pPr>
              <a:defRPr>
                <a:solidFill>
                  <a:srgbClr val="3F403F"/>
                </a:solidFill>
              </a:defRPr>
            </a:lvl2pPr>
            <a:lvl3pPr>
              <a:defRPr>
                <a:solidFill>
                  <a:srgbClr val="3F403F"/>
                </a:solidFill>
              </a:defRPr>
            </a:lvl3pPr>
            <a:lvl4pPr>
              <a:defRPr>
                <a:solidFill>
                  <a:srgbClr val="3F403F"/>
                </a:solidFill>
              </a:defRPr>
            </a:lvl4pPr>
            <a:lvl5pPr>
              <a:defRPr>
                <a:solidFill>
                  <a:srgbClr val="3F403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C153F815-CEFD-C09A-4433-B283AA92B9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3489361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19F007-6DEA-3547-9B09-1A02E9F01D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9325" cy="424732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le Goes Here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66D42039-2623-C91A-3852-9C05770462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2494649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, Subhead, Content &amp; Footnotes Half-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EC46CDE-4A2E-C441-B621-5DC180F786A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0"/>
            <a:ext cx="6094967" cy="6858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98C4DC-342E-3D4F-A221-7F2FF24C29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5332395" cy="42473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Title Goes Here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C75A6E48-4060-6C4A-AEA9-7558EA88532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822960"/>
            <a:ext cx="5332395" cy="3693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cap="none" baseline="0"/>
            </a:lvl1pPr>
          </a:lstStyle>
          <a:p>
            <a:r>
              <a:rPr lang="en-US" dirty="0"/>
              <a:t>Subhead goes here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D759AB29-1C2E-994E-AA90-5169C439859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48640" y="1371600"/>
            <a:ext cx="5332395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Slide Number Placeholder 3">
            <a:extLst>
              <a:ext uri="{FF2B5EF4-FFF2-40B4-BE49-F238E27FC236}">
                <a16:creationId xmlns:a16="http://schemas.microsoft.com/office/drawing/2014/main" id="{EF0DCE40-B2D6-2A42-8B1D-82272D06001A}"/>
              </a:ext>
            </a:extLst>
          </p:cNvPr>
          <p:cNvSpPr txBox="1">
            <a:spLocks/>
          </p:cNvSpPr>
          <p:nvPr/>
        </p:nvSpPr>
        <p:spPr>
          <a:xfrm>
            <a:off x="11103429" y="6521727"/>
            <a:ext cx="555171" cy="230832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b="0" kern="1200">
                <a:solidFill>
                  <a:srgbClr val="0A4A8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CA5BF-B763-1840-8654-29064379A303}" type="slidenum">
              <a:rPr lang="en-US" smtClean="0">
                <a:solidFill>
                  <a:srgbClr val="3F403F"/>
                </a:solidFill>
              </a:rPr>
              <a:pPr/>
              <a:t>‹#›</a:t>
            </a:fld>
            <a:endParaRPr lang="en-US" dirty="0">
              <a:solidFill>
                <a:srgbClr val="3F403F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5C75AB52-6A81-9A4E-A7EE-B5BC713FAF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32811" y="6562277"/>
            <a:ext cx="853821" cy="149733"/>
          </a:xfrm>
          <a:prstGeom prst="rect">
            <a:avLst/>
          </a:prstGeom>
        </p:spPr>
      </p:pic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E90F926-DC15-9B4F-81A8-5EBBF896FAB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8640" y="6035040"/>
            <a:ext cx="9317255" cy="671979"/>
          </a:xfrm>
          <a:prstGeom prst="rect">
            <a:avLst/>
          </a:prstGeom>
        </p:spPr>
        <p:txBody>
          <a:bodyPr wrap="square" bIns="0" anchor="b" anchorCtr="0">
            <a:spAutoFit/>
          </a:bodyPr>
          <a:lstStyle>
            <a:lvl1pPr marL="114300" indent="-114300">
              <a:lnSpc>
                <a:spcPct val="85000"/>
              </a:lnSpc>
              <a:spcAft>
                <a:spcPts val="200"/>
              </a:spcAft>
              <a:buFont typeface="+mj-lt"/>
              <a:buAutoNum type="arabicPeriod"/>
              <a:tabLst/>
              <a:defRPr sz="800"/>
            </a:lvl1pPr>
          </a:lstStyle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  <a:endParaRPr lang="en-US"/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1765E3C9-9DA6-FA4F-90D4-469B9C83524F}"/>
              </a:ext>
            </a:extLst>
          </p:cNvPr>
          <p:cNvSpPr txBox="1">
            <a:spLocks/>
          </p:cNvSpPr>
          <p:nvPr userDrawn="1"/>
        </p:nvSpPr>
        <p:spPr>
          <a:xfrm>
            <a:off x="11103429" y="6521727"/>
            <a:ext cx="555171" cy="230832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b="0" kern="1200">
                <a:solidFill>
                  <a:srgbClr val="0A4A8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CA5BF-B763-1840-8654-29064379A303}" type="slidenum">
              <a:rPr lang="en-US" smtClean="0">
                <a:solidFill>
                  <a:srgbClr val="3F403F"/>
                </a:solidFill>
              </a:rPr>
              <a:pPr/>
              <a:t>‹#›</a:t>
            </a:fld>
            <a:endParaRPr lang="en-US" dirty="0">
              <a:solidFill>
                <a:srgbClr val="3F403F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66D986C-790F-0243-9DFC-EF17BDF878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32811" y="6562277"/>
            <a:ext cx="853821" cy="149733"/>
          </a:xfrm>
          <a:prstGeom prst="rect">
            <a:avLst/>
          </a:prstGeom>
        </p:spPr>
      </p:pic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91C422BD-E599-0834-5640-E73D2FF36C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481507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, Financials, Content &amp; Footnotes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D759AB29-1C2E-994E-AA90-5169C439859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48639" y="1371600"/>
            <a:ext cx="534924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00DD96F7-3E30-E843-BBFD-C82F3ED958D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310967" y="1371600"/>
            <a:ext cx="5347633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8CB1EED-E29E-B143-A692-EBE7695150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822960"/>
            <a:ext cx="8705719" cy="3693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cap="none" baseline="0"/>
            </a:lvl1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44061824-525E-1242-9087-C1A37679BB3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27779" y="924161"/>
            <a:ext cx="2218059" cy="2462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000" cap="none" baseline="0"/>
            </a:lvl1pPr>
          </a:lstStyle>
          <a:p>
            <a:pPr lvl="0"/>
            <a:r>
              <a:rPr lang="en-US" dirty="0"/>
              <a:t>(Millions)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3B5274F-5C3C-9140-8A8B-7F29E09A29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027DD6F-4316-6945-88B0-112FF550B17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640" y="6035040"/>
            <a:ext cx="9317255" cy="671979"/>
          </a:xfrm>
          <a:prstGeom prst="rect">
            <a:avLst/>
          </a:prstGeom>
        </p:spPr>
        <p:txBody>
          <a:bodyPr wrap="square" bIns="0" anchor="b" anchorCtr="0">
            <a:spAutoFit/>
          </a:bodyPr>
          <a:lstStyle>
            <a:lvl1pPr marL="114300" indent="-114300">
              <a:lnSpc>
                <a:spcPct val="85000"/>
              </a:lnSpc>
              <a:spcAft>
                <a:spcPts val="200"/>
              </a:spcAft>
              <a:buFont typeface="+mj-lt"/>
              <a:buAutoNum type="arabicPeriod"/>
              <a:tabLst/>
              <a:defRPr sz="800"/>
            </a:lvl1pPr>
          </a:lstStyle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  <a:endParaRPr lang="en-US"/>
          </a:p>
        </p:txBody>
      </p:sp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5599E9E9-E1BF-77B3-2237-0DB11A74B7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168761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19F007-6DEA-3547-9B09-1A02E9F01D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le Goes He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D880F95-F3FA-AD40-A9AD-BA6034C21D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1338" y="1371600"/>
            <a:ext cx="11116627" cy="197393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6EA944D-938B-F413-274F-ECD11640B8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3291970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, Financials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19F007-6DEA-3547-9B09-1A02E9F01D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le Goes He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D880F95-F3FA-AD40-A9AD-BA6034C21D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1338" y="1371600"/>
            <a:ext cx="11116627" cy="197393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D7FCDEEB-8F5E-4940-8309-A6C59D3E8C8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27779" y="924161"/>
            <a:ext cx="2218059" cy="2462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000" cap="none" baseline="0"/>
            </a:lvl1pPr>
          </a:lstStyle>
          <a:p>
            <a:pPr lvl="0"/>
            <a:r>
              <a:rPr lang="en-US" dirty="0"/>
              <a:t>(Millions)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CCD76117-3A01-7FE2-15B6-8569548D72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2397669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82B56DE6-C6D7-6DE7-0BF7-38D7BC633F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1371339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head &amp;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012A0-B153-1842-ABEA-FB2FEFBAB1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A5839A4-0860-054D-B56C-D9188887A0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822960"/>
            <a:ext cx="11102023" cy="3693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cap="none" baseline="0"/>
            </a:lvl1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94E2E9D-E130-7649-9A4A-34557A92621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640" y="6035040"/>
            <a:ext cx="9583651" cy="671979"/>
          </a:xfrm>
          <a:prstGeom prst="rect">
            <a:avLst/>
          </a:prstGeom>
        </p:spPr>
        <p:txBody>
          <a:bodyPr wrap="square" bIns="0" anchor="b" anchorCtr="0">
            <a:spAutoFit/>
          </a:bodyPr>
          <a:lstStyle>
            <a:lvl1pPr marL="114300" indent="-114300">
              <a:lnSpc>
                <a:spcPct val="85000"/>
              </a:lnSpc>
              <a:spcAft>
                <a:spcPts val="200"/>
              </a:spcAft>
              <a:buFont typeface="+mj-lt"/>
              <a:buAutoNum type="arabicPeriod"/>
              <a:tabLst/>
              <a:defRPr sz="800"/>
            </a:lvl1pPr>
          </a:lstStyle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1E119E3D-7FBF-BB38-9305-2507FEC54E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330312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19F007-6DEA-3547-9B09-1A02E9F01D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9325" cy="424732"/>
          </a:xfrm>
        </p:spPr>
        <p:txBody>
          <a:bodyPr/>
          <a:lstStyle/>
          <a:p>
            <a:r>
              <a:rPr lang="en-US"/>
              <a:t>Title Goes Here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CF498602-1D7E-7D8C-C5BA-2EA246F96D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955760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012A0-B153-1842-ABEA-FB2FEFBAB1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9F9FCDFC-9DCF-5E49-B920-D08BB6EE9D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822960"/>
            <a:ext cx="11094720" cy="3693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cap="none" baseline="0"/>
            </a:lvl1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9FDE1219-2071-9052-0DFD-C824E5CBA2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1770119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, Subhead, Financials Content &amp; Footnotes Half-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F198C4DC-342E-3D4F-A221-7F2FF24C29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5332395" cy="42473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Title Goes Here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C75A6E48-4060-6C4A-AEA9-7558EA88532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822960"/>
            <a:ext cx="5332395" cy="3693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cap="none" baseline="0"/>
            </a:lvl1pPr>
          </a:lstStyle>
          <a:p>
            <a:r>
              <a:rPr lang="en-US" dirty="0"/>
              <a:t>Subhead goes here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D759AB29-1C2E-994E-AA90-5169C439859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48640" y="1371600"/>
            <a:ext cx="5332395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E90F926-DC15-9B4F-81A8-5EBBF896FAB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8640" y="6035040"/>
            <a:ext cx="9317255" cy="671979"/>
          </a:xfrm>
          <a:prstGeom prst="rect">
            <a:avLst/>
          </a:prstGeom>
        </p:spPr>
        <p:txBody>
          <a:bodyPr wrap="square" bIns="0" anchor="b" anchorCtr="0">
            <a:spAutoFit/>
          </a:bodyPr>
          <a:lstStyle>
            <a:lvl1pPr marL="114300" indent="-114300">
              <a:lnSpc>
                <a:spcPct val="85000"/>
              </a:lnSpc>
              <a:spcAft>
                <a:spcPts val="200"/>
              </a:spcAft>
              <a:buFont typeface="+mj-lt"/>
              <a:buAutoNum type="arabicPeriod"/>
              <a:tabLst/>
              <a:defRPr sz="800"/>
            </a:lvl1pPr>
          </a:lstStyle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  <a:endParaRPr lang="en-US"/>
          </a:p>
        </p:txBody>
      </p:sp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FFB9A44E-21B2-AE44-94CF-DCE70B4D2A16}"/>
              </a:ext>
            </a:extLst>
          </p:cNvPr>
          <p:cNvSpPr txBox="1">
            <a:spLocks/>
          </p:cNvSpPr>
          <p:nvPr userDrawn="1"/>
        </p:nvSpPr>
        <p:spPr>
          <a:xfrm>
            <a:off x="11098147" y="6521727"/>
            <a:ext cx="552432" cy="230832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b="0" kern="1200">
                <a:solidFill>
                  <a:srgbClr val="0A4A8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CA5BF-B763-1840-8654-29064379A303}" type="slidenum">
              <a:rPr lang="en-US" smtClean="0">
                <a:solidFill>
                  <a:srgbClr val="3F403F"/>
                </a:solidFill>
              </a:rPr>
              <a:pPr/>
              <a:t>‹#›</a:t>
            </a:fld>
            <a:endParaRPr lang="en-US" dirty="0">
              <a:solidFill>
                <a:srgbClr val="3F403F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4A36882-193E-DB45-914F-2DDEAE3AC8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2247" y="6565392"/>
            <a:ext cx="834268" cy="146304"/>
          </a:xfrm>
          <a:prstGeom prst="rect">
            <a:avLst/>
          </a:prstGeom>
        </p:spPr>
      </p:pic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534701CB-A4DF-3943-ACF4-D5B461EBE22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27779" y="924161"/>
            <a:ext cx="2218059" cy="246221"/>
          </a:xfrm>
        </p:spPr>
        <p:txBody>
          <a:bodyPr/>
          <a:lstStyle>
            <a:lvl1pPr marL="0" indent="0" algn="r">
              <a:buFontTx/>
              <a:buNone/>
              <a:defRPr sz="1000"/>
            </a:lvl1pPr>
          </a:lstStyle>
          <a:p>
            <a:r>
              <a:rPr lang="en-US"/>
              <a:t>(Millions)</a:t>
            </a:r>
          </a:p>
        </p:txBody>
      </p:sp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CE315886-B44F-8F3A-317D-512A527EDB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1659983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0663FF-5D9E-4349-92BC-B90A4C2C91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3882008"/>
            <a:ext cx="11102023" cy="590931"/>
          </a:xfrm>
          <a:prstGeom prst="rect">
            <a:avLst/>
          </a:prstGeom>
        </p:spPr>
        <p:txBody>
          <a:bodyPr anchor="t" anchorCtr="0"/>
          <a:lstStyle>
            <a:lvl1pPr>
              <a:defRPr sz="3600">
                <a:solidFill>
                  <a:srgbClr val="0A4A8E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998500-4A15-D14E-B3B4-F2DAC7317FE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8640" y="4542788"/>
            <a:ext cx="11102023" cy="400110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2000" cap="none" baseline="0">
                <a:solidFill>
                  <a:srgbClr val="0A4A8E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head goes he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BB6E322-A43F-5745-A965-5D290070662C}"/>
              </a:ext>
            </a:extLst>
          </p:cNvPr>
          <p:cNvCxnSpPr>
            <a:cxnSpLocks/>
          </p:cNvCxnSpPr>
          <p:nvPr/>
        </p:nvCxnSpPr>
        <p:spPr>
          <a:xfrm>
            <a:off x="647700" y="4471191"/>
            <a:ext cx="10881360" cy="0"/>
          </a:xfrm>
          <a:prstGeom prst="line">
            <a:avLst/>
          </a:prstGeom>
          <a:ln w="6350">
            <a:solidFill>
              <a:srgbClr val="0A4A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F060E455-FF93-0846-B5FE-7F86C3868E0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3222" y="6251231"/>
            <a:ext cx="1541078" cy="270256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A0E38D1-19A5-6741-94C4-E0967405926F}"/>
              </a:ext>
            </a:extLst>
          </p:cNvPr>
          <p:cNvCxnSpPr>
            <a:cxnSpLocks/>
          </p:cNvCxnSpPr>
          <p:nvPr userDrawn="1"/>
        </p:nvCxnSpPr>
        <p:spPr>
          <a:xfrm>
            <a:off x="647700" y="4471191"/>
            <a:ext cx="10899648" cy="0"/>
          </a:xfrm>
          <a:prstGeom prst="line">
            <a:avLst/>
          </a:prstGeom>
          <a:ln w="6350">
            <a:solidFill>
              <a:srgbClr val="0A4A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00E1751-1BE0-E64A-BEFE-3A673B1F01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3222" y="6251231"/>
            <a:ext cx="1541078" cy="270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34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0663FF-5D9E-4349-92BC-B90A4C2C91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3882008"/>
            <a:ext cx="11102023" cy="590931"/>
          </a:xfrm>
          <a:prstGeom prst="rect">
            <a:avLst/>
          </a:prstGeom>
        </p:spPr>
        <p:txBody>
          <a:bodyPr anchor="t" anchorCtr="0"/>
          <a:lstStyle>
            <a:lvl1pPr>
              <a:defRPr sz="3600">
                <a:solidFill>
                  <a:srgbClr val="0A4A8E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BB6E322-A43F-5745-A965-5D290070662C}"/>
              </a:ext>
            </a:extLst>
          </p:cNvPr>
          <p:cNvCxnSpPr>
            <a:cxnSpLocks/>
          </p:cNvCxnSpPr>
          <p:nvPr/>
        </p:nvCxnSpPr>
        <p:spPr>
          <a:xfrm>
            <a:off x="647700" y="4471191"/>
            <a:ext cx="11002963" cy="0"/>
          </a:xfrm>
          <a:prstGeom prst="line">
            <a:avLst/>
          </a:prstGeom>
          <a:ln w="6350">
            <a:solidFill>
              <a:srgbClr val="0A4A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CECB0760-4CFC-204D-AC25-4DF499FE174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3222" y="6251231"/>
            <a:ext cx="1541078" cy="270256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A0E2467-AA50-8C47-8426-3D2920D6A7ED}"/>
              </a:ext>
            </a:extLst>
          </p:cNvPr>
          <p:cNvCxnSpPr>
            <a:cxnSpLocks/>
          </p:cNvCxnSpPr>
          <p:nvPr userDrawn="1"/>
        </p:nvCxnSpPr>
        <p:spPr>
          <a:xfrm>
            <a:off x="647700" y="4471191"/>
            <a:ext cx="11002963" cy="0"/>
          </a:xfrm>
          <a:prstGeom prst="line">
            <a:avLst/>
          </a:prstGeom>
          <a:ln w="6350">
            <a:solidFill>
              <a:srgbClr val="0A4A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9D5D37B3-119A-D64E-8C47-2B640F5D9F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3222" y="6251231"/>
            <a:ext cx="1541078" cy="270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598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, Content, Financial &amp;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012A0-B153-1842-ABEA-FB2FEFBAB1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A5839A4-0860-054D-B56C-D9188887A0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822960"/>
            <a:ext cx="8705719" cy="3693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cap="none" baseline="0"/>
            </a:lvl1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5551383F-84AB-8247-AB1C-3B17087488EE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48640" y="1371600"/>
            <a:ext cx="11102023" cy="19389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F403F"/>
                </a:solidFill>
              </a:defRPr>
            </a:lvl1pPr>
            <a:lvl2pPr>
              <a:defRPr>
                <a:solidFill>
                  <a:srgbClr val="3F403F"/>
                </a:solidFill>
              </a:defRPr>
            </a:lvl2pPr>
            <a:lvl3pPr>
              <a:defRPr>
                <a:solidFill>
                  <a:srgbClr val="3F403F"/>
                </a:solidFill>
              </a:defRPr>
            </a:lvl3pPr>
            <a:lvl4pPr>
              <a:defRPr>
                <a:solidFill>
                  <a:srgbClr val="3F403F"/>
                </a:solidFill>
              </a:defRPr>
            </a:lvl4pPr>
            <a:lvl5pPr>
              <a:defRPr>
                <a:solidFill>
                  <a:srgbClr val="3F403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94E2E9D-E130-7649-9A4A-34557A92621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640" y="6035040"/>
            <a:ext cx="9317255" cy="671979"/>
          </a:xfrm>
          <a:prstGeom prst="rect">
            <a:avLst/>
          </a:prstGeom>
        </p:spPr>
        <p:txBody>
          <a:bodyPr wrap="square" bIns="0" anchor="b" anchorCtr="0">
            <a:spAutoFit/>
          </a:bodyPr>
          <a:lstStyle>
            <a:lvl1pPr marL="114300" indent="-114300">
              <a:lnSpc>
                <a:spcPct val="85000"/>
              </a:lnSpc>
              <a:spcAft>
                <a:spcPts val="200"/>
              </a:spcAft>
              <a:buFont typeface="+mj-lt"/>
              <a:buAutoNum type="arabicPeriod"/>
              <a:tabLst/>
              <a:defRPr sz="800"/>
            </a:lvl1pPr>
          </a:lstStyle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  <a:endParaRPr lang="en-US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0631FDE-FF59-3248-A30C-1C759C1963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27779" y="924161"/>
            <a:ext cx="2218059" cy="2462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000" cap="none" baseline="0"/>
            </a:lvl1pPr>
          </a:lstStyle>
          <a:p>
            <a:pPr lvl="0"/>
            <a:r>
              <a:rPr lang="en-US" dirty="0"/>
              <a:t>(Millions)</a:t>
            </a:r>
          </a:p>
        </p:txBody>
      </p:sp>
    </p:spTree>
    <p:extLst>
      <p:ext uri="{BB962C8B-B14F-4D97-AF65-F5344CB8AC3E}">
        <p14:creationId xmlns:p14="http://schemas.microsoft.com/office/powerpoint/2010/main" val="1678999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Financ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012A0-B153-1842-ABEA-FB2FEFBAB1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0631FDE-FF59-3248-A30C-1C759C1963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27779" y="924161"/>
            <a:ext cx="2218059" cy="2462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000" cap="none" baseline="0"/>
            </a:lvl1pPr>
          </a:lstStyle>
          <a:p>
            <a:pPr lvl="0"/>
            <a:r>
              <a:rPr lang="en-US" dirty="0"/>
              <a:t>(Millions)</a:t>
            </a:r>
          </a:p>
        </p:txBody>
      </p:sp>
    </p:spTree>
    <p:extLst>
      <p:ext uri="{BB962C8B-B14F-4D97-AF65-F5344CB8AC3E}">
        <p14:creationId xmlns:p14="http://schemas.microsoft.com/office/powerpoint/2010/main" val="2303572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, Financial &amp;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012A0-B153-1842-ABEA-FB2FEFBAB1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A5839A4-0860-054D-B56C-D9188887A0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822960"/>
            <a:ext cx="8705719" cy="3693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cap="none" baseline="0"/>
            </a:lvl1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94E2E9D-E130-7649-9A4A-34557A92621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640" y="6035040"/>
            <a:ext cx="9317255" cy="671979"/>
          </a:xfrm>
          <a:prstGeom prst="rect">
            <a:avLst/>
          </a:prstGeom>
        </p:spPr>
        <p:txBody>
          <a:bodyPr wrap="square" bIns="0" anchor="b" anchorCtr="0">
            <a:spAutoFit/>
          </a:bodyPr>
          <a:lstStyle>
            <a:lvl1pPr marL="114300" indent="-114300">
              <a:lnSpc>
                <a:spcPct val="85000"/>
              </a:lnSpc>
              <a:spcAft>
                <a:spcPts val="200"/>
              </a:spcAft>
              <a:buFont typeface="+mj-lt"/>
              <a:buAutoNum type="arabicPeriod"/>
              <a:tabLst/>
              <a:defRPr sz="800"/>
            </a:lvl1pPr>
          </a:lstStyle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  <a:endParaRPr lang="en-US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0631FDE-FF59-3248-A30C-1C759C1963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27779" y="924161"/>
            <a:ext cx="2218059" cy="2462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000" cap="none" baseline="0"/>
            </a:lvl1pPr>
          </a:lstStyle>
          <a:p>
            <a:pPr lvl="0"/>
            <a:r>
              <a:rPr lang="en-US" dirty="0"/>
              <a:t>(Millions)</a:t>
            </a:r>
          </a:p>
        </p:txBody>
      </p:sp>
    </p:spTree>
    <p:extLst>
      <p:ext uri="{BB962C8B-B14F-4D97-AF65-F5344CB8AC3E}">
        <p14:creationId xmlns:p14="http://schemas.microsoft.com/office/powerpoint/2010/main" val="999111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Financial &amp;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012A0-B153-1842-ABEA-FB2FEFBAB1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94E2E9D-E130-7649-9A4A-34557A92621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640" y="6035040"/>
            <a:ext cx="9317255" cy="671979"/>
          </a:xfrm>
          <a:prstGeom prst="rect">
            <a:avLst/>
          </a:prstGeom>
        </p:spPr>
        <p:txBody>
          <a:bodyPr wrap="square" bIns="0" anchor="b" anchorCtr="0">
            <a:spAutoFit/>
          </a:bodyPr>
          <a:lstStyle>
            <a:lvl1pPr marL="114300" indent="-114300">
              <a:lnSpc>
                <a:spcPct val="85000"/>
              </a:lnSpc>
              <a:spcAft>
                <a:spcPts val="200"/>
              </a:spcAft>
              <a:buFont typeface="+mj-lt"/>
              <a:buAutoNum type="arabicPeriod"/>
              <a:tabLst/>
              <a:defRPr sz="800"/>
            </a:lvl1pPr>
          </a:lstStyle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  <a:endParaRPr lang="en-US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0631FDE-FF59-3248-A30C-1C759C1963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27779" y="924161"/>
            <a:ext cx="2218059" cy="2462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000" cap="none" baseline="0"/>
            </a:lvl1pPr>
          </a:lstStyle>
          <a:p>
            <a:pPr lvl="0"/>
            <a:r>
              <a:rPr lang="en-US" dirty="0"/>
              <a:t>(Millions)</a:t>
            </a:r>
          </a:p>
        </p:txBody>
      </p:sp>
    </p:spTree>
    <p:extLst>
      <p:ext uri="{BB962C8B-B14F-4D97-AF65-F5344CB8AC3E}">
        <p14:creationId xmlns:p14="http://schemas.microsoft.com/office/powerpoint/2010/main" val="120921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012A0-B153-1842-ABEA-FB2FEFBAB1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94E2E9D-E130-7649-9A4A-34557A92621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640" y="6035040"/>
            <a:ext cx="9317255" cy="671979"/>
          </a:xfrm>
          <a:prstGeom prst="rect">
            <a:avLst/>
          </a:prstGeom>
        </p:spPr>
        <p:txBody>
          <a:bodyPr wrap="square" bIns="0" anchor="b" anchorCtr="0">
            <a:spAutoFit/>
          </a:bodyPr>
          <a:lstStyle>
            <a:lvl1pPr marL="114300" indent="-114300">
              <a:lnSpc>
                <a:spcPct val="85000"/>
              </a:lnSpc>
              <a:spcAft>
                <a:spcPts val="200"/>
              </a:spcAft>
              <a:buFont typeface="+mj-lt"/>
              <a:buAutoNum type="arabicPeriod"/>
              <a:tabLst/>
              <a:defRPr sz="800"/>
            </a:lvl1pPr>
          </a:lstStyle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743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, Financial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012A0-B153-1842-ABEA-FB2FEFBAB1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5551383F-84AB-8247-AB1C-3B17087488EE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48640" y="1371600"/>
            <a:ext cx="11102023" cy="19389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F403F"/>
                </a:solidFill>
              </a:defRPr>
            </a:lvl1pPr>
            <a:lvl2pPr>
              <a:defRPr>
                <a:solidFill>
                  <a:srgbClr val="3F403F"/>
                </a:solidFill>
              </a:defRPr>
            </a:lvl2pPr>
            <a:lvl3pPr>
              <a:defRPr>
                <a:solidFill>
                  <a:srgbClr val="3F403F"/>
                </a:solidFill>
              </a:defRPr>
            </a:lvl3pPr>
            <a:lvl4pPr>
              <a:defRPr>
                <a:solidFill>
                  <a:srgbClr val="3F403F"/>
                </a:solidFill>
              </a:defRPr>
            </a:lvl4pPr>
            <a:lvl5pPr>
              <a:defRPr>
                <a:solidFill>
                  <a:srgbClr val="3F403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E9D0D49-6424-B54F-B884-EC83077F3A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822960"/>
            <a:ext cx="8705719" cy="3693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cap="none" baseline="0"/>
            </a:lvl1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2569076-FA3B-254E-94C8-0C8F676A724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27779" y="924161"/>
            <a:ext cx="2218059" cy="2462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000" cap="none" baseline="0"/>
            </a:lvl1pPr>
          </a:lstStyle>
          <a:p>
            <a:pPr lvl="0"/>
            <a:r>
              <a:rPr lang="en-US" dirty="0"/>
              <a:t>(Millions)</a:t>
            </a:r>
          </a:p>
        </p:txBody>
      </p:sp>
    </p:spTree>
    <p:extLst>
      <p:ext uri="{BB962C8B-B14F-4D97-AF65-F5344CB8AC3E}">
        <p14:creationId xmlns:p14="http://schemas.microsoft.com/office/powerpoint/2010/main" val="4091551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Financials &amp;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012A0-B153-1842-ABEA-FB2FEFBAB1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2569076-FA3B-254E-94C8-0C8F676A724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27779" y="924161"/>
            <a:ext cx="2218059" cy="2462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000" cap="none" baseline="0"/>
            </a:lvl1pPr>
          </a:lstStyle>
          <a:p>
            <a:pPr lvl="0"/>
            <a:r>
              <a:rPr lang="en-US" dirty="0"/>
              <a:t>(Millions)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41A7A873-1E4A-9345-B31C-57ECE9F3E79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640" y="6035040"/>
            <a:ext cx="9317255" cy="671979"/>
          </a:xfrm>
          <a:prstGeom prst="rect">
            <a:avLst/>
          </a:prstGeom>
        </p:spPr>
        <p:txBody>
          <a:bodyPr wrap="square" bIns="0" anchor="b" anchorCtr="0">
            <a:spAutoFit/>
          </a:bodyPr>
          <a:lstStyle>
            <a:lvl1pPr marL="114300" indent="-114300">
              <a:lnSpc>
                <a:spcPct val="85000"/>
              </a:lnSpc>
              <a:spcAft>
                <a:spcPts val="200"/>
              </a:spcAft>
              <a:buFont typeface="+mj-lt"/>
              <a:buAutoNum type="arabicPeriod"/>
              <a:tabLst/>
              <a:defRPr sz="800"/>
            </a:lvl1pPr>
          </a:lstStyle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4683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, Content, Financial &amp;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012A0-B153-1842-ABEA-FB2FEFBAB1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A5839A4-0860-054D-B56C-D9188887A0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822960"/>
            <a:ext cx="8705719" cy="3693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cap="none" baseline="0"/>
            </a:lvl1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5551383F-84AB-8247-AB1C-3B17087488EE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48640" y="1371600"/>
            <a:ext cx="11102023" cy="19389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F403F"/>
                </a:solidFill>
              </a:defRPr>
            </a:lvl1pPr>
            <a:lvl2pPr>
              <a:defRPr>
                <a:solidFill>
                  <a:srgbClr val="3F403F"/>
                </a:solidFill>
              </a:defRPr>
            </a:lvl2pPr>
            <a:lvl3pPr>
              <a:defRPr>
                <a:solidFill>
                  <a:srgbClr val="3F403F"/>
                </a:solidFill>
              </a:defRPr>
            </a:lvl3pPr>
            <a:lvl4pPr>
              <a:defRPr>
                <a:solidFill>
                  <a:srgbClr val="3F403F"/>
                </a:solidFill>
              </a:defRPr>
            </a:lvl4pPr>
            <a:lvl5pPr>
              <a:defRPr>
                <a:solidFill>
                  <a:srgbClr val="3F403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94E2E9D-E130-7649-9A4A-34557A92621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641" y="6034414"/>
            <a:ext cx="6156960" cy="718145"/>
          </a:xfrm>
          <a:prstGeom prst="rect">
            <a:avLst/>
          </a:prstGeom>
        </p:spPr>
        <p:txBody>
          <a:bodyPr wrap="square" bIns="45720" anchor="b" anchorCtr="0">
            <a:spAutoFit/>
          </a:bodyPr>
          <a:lstStyle>
            <a:lvl1pPr marL="114300" indent="-114300">
              <a:lnSpc>
                <a:spcPct val="85000"/>
              </a:lnSpc>
              <a:spcAft>
                <a:spcPts val="200"/>
              </a:spcAft>
              <a:buFont typeface="+mj-lt"/>
              <a:buAutoNum type="arabicPeriod"/>
              <a:tabLst/>
              <a:defRPr sz="800"/>
            </a:lvl1pPr>
          </a:lstStyle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  <a:endParaRPr lang="en-US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0631FDE-FF59-3248-A30C-1C759C1963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27779" y="924161"/>
            <a:ext cx="2218059" cy="2462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000" cap="none" baseline="0"/>
            </a:lvl1pPr>
          </a:lstStyle>
          <a:p>
            <a:pPr lvl="0"/>
            <a:r>
              <a:rPr lang="en-US" dirty="0"/>
              <a:t>(Millions)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CAD65C9D-A821-E609-1F88-C4286CC26F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504551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Financ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012A0-B153-1842-ABEA-FB2FEFBAB1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9F9FCDFC-9DCF-5E49-B920-D08BB6EE9D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822960"/>
            <a:ext cx="8705719" cy="3693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cap="none" baseline="0"/>
            </a:lvl1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023CEB4-A427-5E47-831A-51FFAC0BF8D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27779" y="924161"/>
            <a:ext cx="2218059" cy="2462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000" cap="none" baseline="0"/>
            </a:lvl1pPr>
          </a:lstStyle>
          <a:p>
            <a:pPr lvl="0"/>
            <a:r>
              <a:rPr lang="en-US" dirty="0"/>
              <a:t>(Millions)</a:t>
            </a:r>
          </a:p>
        </p:txBody>
      </p:sp>
    </p:spTree>
    <p:extLst>
      <p:ext uri="{BB962C8B-B14F-4D97-AF65-F5344CB8AC3E}">
        <p14:creationId xmlns:p14="http://schemas.microsoft.com/office/powerpoint/2010/main" val="3264265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012A0-B153-1842-ABEA-FB2FEFBAB1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9F9FCDFC-9DCF-5E49-B920-D08BB6EE9D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822960"/>
            <a:ext cx="11094720" cy="3693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cap="none" baseline="0"/>
            </a:lvl1pPr>
          </a:lstStyle>
          <a:p>
            <a:pPr lvl="0"/>
            <a:r>
              <a:rPr lang="en-US" dirty="0"/>
              <a:t>Subhead goes here</a:t>
            </a:r>
          </a:p>
        </p:txBody>
      </p:sp>
    </p:spTree>
    <p:extLst>
      <p:ext uri="{BB962C8B-B14F-4D97-AF65-F5344CB8AC3E}">
        <p14:creationId xmlns:p14="http://schemas.microsoft.com/office/powerpoint/2010/main" val="2426662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012A0-B153-1842-ABEA-FB2FEFBAB1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9F9FCDFC-9DCF-5E49-B920-D08BB6EE9D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822960"/>
            <a:ext cx="11094720" cy="3693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cap="none" baseline="0"/>
            </a:lvl1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4" name="Content Placeholder 12">
            <a:extLst>
              <a:ext uri="{FF2B5EF4-FFF2-40B4-BE49-F238E27FC236}">
                <a16:creationId xmlns:a16="http://schemas.microsoft.com/office/drawing/2014/main" id="{0D7A7698-3A39-2C40-97AC-850584A46EA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48640" y="1371600"/>
            <a:ext cx="11102023" cy="19389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F403F"/>
                </a:solidFill>
              </a:defRPr>
            </a:lvl1pPr>
            <a:lvl2pPr>
              <a:defRPr>
                <a:solidFill>
                  <a:srgbClr val="3F403F"/>
                </a:solidFill>
              </a:defRPr>
            </a:lvl2pPr>
            <a:lvl3pPr>
              <a:defRPr>
                <a:solidFill>
                  <a:srgbClr val="3F403F"/>
                </a:solidFill>
              </a:defRPr>
            </a:lvl3pPr>
            <a:lvl4pPr>
              <a:defRPr>
                <a:solidFill>
                  <a:srgbClr val="3F403F"/>
                </a:solidFill>
              </a:defRPr>
            </a:lvl4pPr>
            <a:lvl5pPr>
              <a:defRPr>
                <a:solidFill>
                  <a:srgbClr val="3F403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39786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19F007-6DEA-3547-9B09-1A02E9F01D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9325" cy="424732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072337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, Subhead, Content &amp; Footnotes Half-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EC46CDE-4A2E-C441-B621-5DC180F786A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096000" y="0"/>
            <a:ext cx="6094967" cy="6858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anchor="ctr" anchorCtr="0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98C4DC-342E-3D4F-A221-7F2FF24C29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5332395" cy="42473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Title Goes Here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C75A6E48-4060-6C4A-AEA9-7558EA88532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822960"/>
            <a:ext cx="5332395" cy="3693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cap="none" baseline="0"/>
            </a:lvl1pPr>
          </a:lstStyle>
          <a:p>
            <a:r>
              <a:rPr lang="en-US" dirty="0"/>
              <a:t>Subhead goes here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D759AB29-1C2E-994E-AA90-5169C439859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48640" y="1371600"/>
            <a:ext cx="5332395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39467262-291E-DC4A-8F74-6C78098E6DA6}"/>
              </a:ext>
            </a:extLst>
          </p:cNvPr>
          <p:cNvSpPr txBox="1">
            <a:spLocks/>
          </p:cNvSpPr>
          <p:nvPr/>
        </p:nvSpPr>
        <p:spPr>
          <a:xfrm>
            <a:off x="6168325" y="6529421"/>
            <a:ext cx="4455436" cy="215444"/>
          </a:xfrm>
          <a:prstGeom prst="rect">
            <a:avLst/>
          </a:prstGeom>
          <a:effectLst/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spc="-30" dirty="0">
                <a:solidFill>
                  <a:srgbClr val="3F403F"/>
                </a:solidFill>
              </a:rPr>
              <a:t>CONFIDENTIAL. FOR INTERNAL USE ONLY – DO NOT DUPLICATE OR DISTRIBUTE.</a:t>
            </a:r>
          </a:p>
        </p:txBody>
      </p:sp>
      <p:sp>
        <p:nvSpPr>
          <p:cNvPr id="20" name="Slide Number Placeholder 3">
            <a:extLst>
              <a:ext uri="{FF2B5EF4-FFF2-40B4-BE49-F238E27FC236}">
                <a16:creationId xmlns:a16="http://schemas.microsoft.com/office/drawing/2014/main" id="{EF0DCE40-B2D6-2A42-8B1D-82272D06001A}"/>
              </a:ext>
            </a:extLst>
          </p:cNvPr>
          <p:cNvSpPr txBox="1">
            <a:spLocks/>
          </p:cNvSpPr>
          <p:nvPr/>
        </p:nvSpPr>
        <p:spPr>
          <a:xfrm>
            <a:off x="11103429" y="6521727"/>
            <a:ext cx="555171" cy="230832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b="0" kern="1200">
                <a:solidFill>
                  <a:srgbClr val="0A4A8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CA5BF-B763-1840-8654-29064379A303}" type="slidenum">
              <a:rPr lang="en-US" smtClean="0">
                <a:solidFill>
                  <a:srgbClr val="3F403F"/>
                </a:solidFill>
              </a:rPr>
              <a:pPr/>
              <a:t>‹#›</a:t>
            </a:fld>
            <a:endParaRPr lang="en-US" dirty="0">
              <a:solidFill>
                <a:srgbClr val="3F403F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5C75AB52-6A81-9A4E-A7EE-B5BC713FAF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32811" y="6562277"/>
            <a:ext cx="853821" cy="149733"/>
          </a:xfrm>
          <a:prstGeom prst="rect">
            <a:avLst/>
          </a:prstGeom>
        </p:spPr>
      </p:pic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E90F926-DC15-9B4F-81A8-5EBBF896FAB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8640" y="6035040"/>
            <a:ext cx="9317255" cy="671979"/>
          </a:xfrm>
          <a:prstGeom prst="rect">
            <a:avLst/>
          </a:prstGeom>
        </p:spPr>
        <p:txBody>
          <a:bodyPr wrap="square" bIns="0" anchor="b" anchorCtr="0">
            <a:spAutoFit/>
          </a:bodyPr>
          <a:lstStyle>
            <a:lvl1pPr marL="114300" indent="-114300">
              <a:lnSpc>
                <a:spcPct val="85000"/>
              </a:lnSpc>
              <a:spcAft>
                <a:spcPts val="200"/>
              </a:spcAft>
              <a:buFont typeface="+mj-lt"/>
              <a:buAutoNum type="arabicPeriod"/>
              <a:tabLst/>
              <a:defRPr sz="800"/>
            </a:lvl1pPr>
          </a:lstStyle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  <a:endParaRPr lang="en-US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7420172C-E3F1-314C-938D-714C88D4B7B8}"/>
              </a:ext>
            </a:extLst>
          </p:cNvPr>
          <p:cNvSpPr txBox="1">
            <a:spLocks/>
          </p:cNvSpPr>
          <p:nvPr userDrawn="1"/>
        </p:nvSpPr>
        <p:spPr>
          <a:xfrm>
            <a:off x="6168325" y="6529421"/>
            <a:ext cx="4455436" cy="215444"/>
          </a:xfrm>
          <a:prstGeom prst="rect">
            <a:avLst/>
          </a:prstGeom>
          <a:effectLst/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spc="-30" dirty="0">
                <a:solidFill>
                  <a:srgbClr val="3F403F"/>
                </a:solidFill>
              </a:rPr>
              <a:t>CONFIDENTIAL. FOR INTERNAL USE ONLY – DO NOT DUPLICATE OR DISTRIBUTE.</a:t>
            </a:r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1765E3C9-9DA6-FA4F-90D4-469B9C83524F}"/>
              </a:ext>
            </a:extLst>
          </p:cNvPr>
          <p:cNvSpPr txBox="1">
            <a:spLocks/>
          </p:cNvSpPr>
          <p:nvPr userDrawn="1"/>
        </p:nvSpPr>
        <p:spPr>
          <a:xfrm>
            <a:off x="11103429" y="6521727"/>
            <a:ext cx="555171" cy="230832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b="0" kern="1200">
                <a:solidFill>
                  <a:srgbClr val="0A4A8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CA5BF-B763-1840-8654-29064379A303}" type="slidenum">
              <a:rPr lang="en-US" smtClean="0">
                <a:solidFill>
                  <a:srgbClr val="3F403F"/>
                </a:solidFill>
              </a:rPr>
              <a:pPr/>
              <a:t>‹#›</a:t>
            </a:fld>
            <a:endParaRPr lang="en-US" dirty="0">
              <a:solidFill>
                <a:srgbClr val="3F403F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66D986C-790F-0243-9DFC-EF17BDF8780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32811" y="6562277"/>
            <a:ext cx="853821" cy="149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188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, Financials, Content &amp; Footnotes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D759AB29-1C2E-994E-AA90-5169C439859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48639" y="1371600"/>
            <a:ext cx="534924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00DD96F7-3E30-E843-BBFD-C82F3ED958D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310967" y="1371600"/>
            <a:ext cx="5347633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8CB1EED-E29E-B143-A692-EBE76951503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822960"/>
            <a:ext cx="8705719" cy="3693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cap="none" baseline="0"/>
            </a:lvl1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44061824-525E-1242-9087-C1A37679BB3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427779" y="924161"/>
            <a:ext cx="2218059" cy="2462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000" cap="none" baseline="0"/>
            </a:lvl1pPr>
          </a:lstStyle>
          <a:p>
            <a:pPr lvl="0"/>
            <a:r>
              <a:rPr lang="en-US" dirty="0"/>
              <a:t>(Millions)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3B5274F-5C3C-9140-8A8B-7F29E09A29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027DD6F-4316-6945-88B0-112FF550B17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640" y="6035040"/>
            <a:ext cx="9317255" cy="671979"/>
          </a:xfrm>
          <a:prstGeom prst="rect">
            <a:avLst/>
          </a:prstGeom>
        </p:spPr>
        <p:txBody>
          <a:bodyPr wrap="square" bIns="0" anchor="b" anchorCtr="0">
            <a:spAutoFit/>
          </a:bodyPr>
          <a:lstStyle>
            <a:lvl1pPr marL="114300" indent="-114300">
              <a:lnSpc>
                <a:spcPct val="85000"/>
              </a:lnSpc>
              <a:spcAft>
                <a:spcPts val="200"/>
              </a:spcAft>
              <a:buFont typeface="+mj-lt"/>
              <a:buAutoNum type="arabicPeriod"/>
              <a:tabLst/>
              <a:defRPr sz="800"/>
            </a:lvl1pPr>
          </a:lstStyle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8272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19F007-6DEA-3547-9B09-1A02E9F01D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le Goes He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D880F95-F3FA-AD40-A9AD-BA6034C21D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1338" y="1371600"/>
            <a:ext cx="11116627" cy="197393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7106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, Financials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19F007-6DEA-3547-9B09-1A02E9F01D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/>
          <a:p>
            <a:r>
              <a:rPr lang="en-US"/>
              <a:t>Title Goes He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D880F95-F3FA-AD40-A9AD-BA6034C21D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41338" y="1371600"/>
            <a:ext cx="11116627" cy="197393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D7FCDEEB-8F5E-4940-8309-A6C59D3E8C8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27779" y="924161"/>
            <a:ext cx="2218059" cy="2462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000" cap="none" baseline="0"/>
            </a:lvl1pPr>
          </a:lstStyle>
          <a:p>
            <a:pPr lvl="0"/>
            <a:r>
              <a:rPr lang="en-US" dirty="0"/>
              <a:t>(Millions)</a:t>
            </a:r>
          </a:p>
        </p:txBody>
      </p:sp>
    </p:spTree>
    <p:extLst>
      <p:ext uri="{BB962C8B-B14F-4D97-AF65-F5344CB8AC3E}">
        <p14:creationId xmlns:p14="http://schemas.microsoft.com/office/powerpoint/2010/main" val="200503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188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head &amp;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012A0-B153-1842-ABEA-FB2FEFBAB1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A5839A4-0860-054D-B56C-D9188887A0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822960"/>
            <a:ext cx="11102023" cy="3693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cap="none" baseline="0"/>
            </a:lvl1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94E2E9D-E130-7649-9A4A-34557A92621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640" y="6035040"/>
            <a:ext cx="9583651" cy="671979"/>
          </a:xfrm>
          <a:prstGeom prst="rect">
            <a:avLst/>
          </a:prstGeom>
        </p:spPr>
        <p:txBody>
          <a:bodyPr wrap="square" bIns="0" anchor="b" anchorCtr="0">
            <a:spAutoFit/>
          </a:bodyPr>
          <a:lstStyle>
            <a:lvl1pPr marL="114300" indent="-114300">
              <a:lnSpc>
                <a:spcPct val="85000"/>
              </a:lnSpc>
              <a:spcAft>
                <a:spcPts val="200"/>
              </a:spcAft>
              <a:buFont typeface="+mj-lt"/>
              <a:buAutoNum type="arabicPeriod"/>
              <a:tabLst/>
              <a:defRPr sz="800"/>
            </a:lvl1pPr>
          </a:lstStyle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292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, Financial &amp;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012A0-B153-1842-ABEA-FB2FEFBAB1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A5839A4-0860-054D-B56C-D9188887A0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822960"/>
            <a:ext cx="8705719" cy="3693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cap="none" baseline="0"/>
            </a:lvl1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F0631FDE-FF59-3248-A30C-1C759C1963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27779" y="924161"/>
            <a:ext cx="2218059" cy="2462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000" cap="none" baseline="0"/>
            </a:lvl1pPr>
          </a:lstStyle>
          <a:p>
            <a:pPr lvl="0"/>
            <a:r>
              <a:rPr lang="en-US" dirty="0"/>
              <a:t>(Millions)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A6E01C6-8361-E743-B45C-3FB5E216A8A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641" y="6034414"/>
            <a:ext cx="6080760" cy="718145"/>
          </a:xfrm>
          <a:prstGeom prst="rect">
            <a:avLst/>
          </a:prstGeom>
        </p:spPr>
        <p:txBody>
          <a:bodyPr wrap="square" bIns="45720" anchor="b" anchorCtr="0">
            <a:spAutoFit/>
          </a:bodyPr>
          <a:lstStyle>
            <a:lvl1pPr marL="114300" indent="-114300">
              <a:lnSpc>
                <a:spcPct val="85000"/>
              </a:lnSpc>
              <a:spcAft>
                <a:spcPts val="200"/>
              </a:spcAft>
              <a:buFont typeface="+mj-lt"/>
              <a:buAutoNum type="arabicPeriod"/>
              <a:tabLst/>
              <a:defRPr sz="800"/>
            </a:lvl1pPr>
          </a:lstStyle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51AEC01-05A5-9FD1-936C-D70596B960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3896638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19F007-6DEA-3547-9B09-1A02E9F01D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9325" cy="424732"/>
          </a:xfrm>
        </p:spPr>
        <p:txBody>
          <a:bodyPr/>
          <a:lstStyle/>
          <a:p>
            <a:r>
              <a:rPr lang="en-US"/>
              <a:t>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754527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, Subhead, Financials Content &amp; Footnotes Half-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F198C4DC-342E-3D4F-A221-7F2FF24C29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5332395" cy="42473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Title Goes Here</a:t>
            </a:r>
          </a:p>
        </p:txBody>
      </p:sp>
      <p:sp>
        <p:nvSpPr>
          <p:cNvPr id="10" name="Text Placeholder 15">
            <a:extLst>
              <a:ext uri="{FF2B5EF4-FFF2-40B4-BE49-F238E27FC236}">
                <a16:creationId xmlns:a16="http://schemas.microsoft.com/office/drawing/2014/main" id="{C75A6E48-4060-6C4A-AEA9-7558EA88532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822960"/>
            <a:ext cx="5332395" cy="3693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cap="none" baseline="0"/>
            </a:lvl1pPr>
          </a:lstStyle>
          <a:p>
            <a:r>
              <a:rPr lang="en-US" dirty="0"/>
              <a:t>Subhead goes here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D759AB29-1C2E-994E-AA90-5169C439859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48640" y="1371600"/>
            <a:ext cx="5332395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E90F926-DC15-9B4F-81A8-5EBBF896FAB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8640" y="6035040"/>
            <a:ext cx="9317255" cy="671979"/>
          </a:xfrm>
          <a:prstGeom prst="rect">
            <a:avLst/>
          </a:prstGeom>
        </p:spPr>
        <p:txBody>
          <a:bodyPr wrap="square" bIns="0" anchor="b" anchorCtr="0">
            <a:spAutoFit/>
          </a:bodyPr>
          <a:lstStyle>
            <a:lvl1pPr marL="114300" indent="-114300">
              <a:lnSpc>
                <a:spcPct val="85000"/>
              </a:lnSpc>
              <a:spcAft>
                <a:spcPts val="200"/>
              </a:spcAft>
              <a:buFont typeface="+mj-lt"/>
              <a:buAutoNum type="arabicPeriod"/>
              <a:tabLst/>
              <a:defRPr sz="800"/>
            </a:lvl1pPr>
          </a:lstStyle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  <a:endParaRPr lang="en-US"/>
          </a:p>
        </p:txBody>
      </p:sp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FFB9A44E-21B2-AE44-94CF-DCE70B4D2A16}"/>
              </a:ext>
            </a:extLst>
          </p:cNvPr>
          <p:cNvSpPr txBox="1">
            <a:spLocks/>
          </p:cNvSpPr>
          <p:nvPr userDrawn="1"/>
        </p:nvSpPr>
        <p:spPr>
          <a:xfrm>
            <a:off x="11098147" y="6521727"/>
            <a:ext cx="552432" cy="230832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b="0" kern="1200">
                <a:solidFill>
                  <a:srgbClr val="0A4A8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CA5BF-B763-1840-8654-29064379A303}" type="slidenum">
              <a:rPr lang="en-US" smtClean="0">
                <a:solidFill>
                  <a:srgbClr val="3F403F"/>
                </a:solidFill>
              </a:rPr>
              <a:pPr/>
              <a:t>‹#›</a:t>
            </a:fld>
            <a:endParaRPr lang="en-US" dirty="0">
              <a:solidFill>
                <a:srgbClr val="3F403F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4A36882-193E-DB45-914F-2DDEAE3AC8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2247" y="6565392"/>
            <a:ext cx="834268" cy="146304"/>
          </a:xfrm>
          <a:prstGeom prst="rect">
            <a:avLst/>
          </a:prstGeom>
        </p:spPr>
      </p:pic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534701CB-A4DF-3943-ACF4-D5B461EBE22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27779" y="924161"/>
            <a:ext cx="2218059" cy="246221"/>
          </a:xfrm>
        </p:spPr>
        <p:txBody>
          <a:bodyPr/>
          <a:lstStyle>
            <a:lvl1pPr marL="0" indent="0" algn="r">
              <a:buFontTx/>
              <a:buNone/>
              <a:defRPr sz="1000"/>
            </a:lvl1pPr>
          </a:lstStyle>
          <a:p>
            <a:r>
              <a:rPr lang="en-US"/>
              <a:t>(Millions)</a:t>
            </a:r>
          </a:p>
        </p:txBody>
      </p:sp>
    </p:spTree>
    <p:extLst>
      <p:ext uri="{BB962C8B-B14F-4D97-AF65-F5344CB8AC3E}">
        <p14:creationId xmlns:p14="http://schemas.microsoft.com/office/powerpoint/2010/main" val="3738662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EC595-3BDB-489C-AB5C-4C48BF9B07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81000"/>
            <a:ext cx="11430000" cy="9906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Place headline here (36pt, min 30pt)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A49B96C-8E74-4C8B-BDE4-9B82801CA0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81001" y="1371601"/>
            <a:ext cx="11430000" cy="4940300"/>
          </a:xfrm>
        </p:spPr>
        <p:txBody>
          <a:bodyPr/>
          <a:lstStyle/>
          <a:p>
            <a:pPr lvl="0"/>
            <a:r>
              <a:rPr lang="en-US"/>
              <a:t>Place text her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82309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4">
          <p15:clr>
            <a:srgbClr val="5ACBF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Gradient Dark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B47B586-CFEE-4C32-8227-001B5A89C3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3648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A4D9B0E-55A4-43D3-A4B6-225FAA7538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67840" y="2015925"/>
            <a:ext cx="8656320" cy="2826150"/>
          </a:xfrm>
        </p:spPr>
        <p:txBody>
          <a:bodyPr anchor="ctr"/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Place key message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41FE43-9ADC-4313-8D22-F47ABC16F4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468" y="6482516"/>
            <a:ext cx="191087" cy="2023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A97BC18-949B-4A9A-B05F-CA4F3F80FEC9}"/>
              </a:ext>
            </a:extLst>
          </p:cNvPr>
          <p:cNvSpPr txBox="1"/>
          <p:nvPr userDrawn="1"/>
        </p:nvSpPr>
        <p:spPr>
          <a:xfrm>
            <a:off x="8317890" y="648334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t>Copyright © 2024 Accenture. All rights reserved.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F34DCA4-9B3F-424E-8478-0FB3BCA6E006}"/>
              </a:ext>
            </a:extLst>
          </p:cNvPr>
          <p:cNvSpPr txBox="1"/>
          <p:nvPr userDrawn="1"/>
        </p:nvSpPr>
        <p:spPr>
          <a:xfrm>
            <a:off x="11430000" y="648206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kumimoji="0" lang="en-GB" sz="800" b="0" i="0" u="none" strike="noStrike" kern="0" cap="none" spc="0" normalizeH="0" baseline="0" noProof="0" smtClean="0">
                <a:ln>
                  <a:noFill/>
                </a:ln>
                <a:solidFill>
                  <a:srgbClr val="FFFFFF">
                    <a:alpha val="75000"/>
                  </a:srgbClr>
                </a:solidFill>
                <a:effectLst/>
                <a:uLnTx/>
                <a:uFillTx/>
              </a:rPr>
              <a:pPr marL="0" marR="0" lvl="0" indent="0" algn="r" defTabSz="2286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>
                  <a:alpha val="75000"/>
                </a:srgbClr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505713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Cover Image - Left-aligned, GT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59C8654-2CC9-F541-A924-257D0187B5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9025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C0037DA-877B-4969-92F3-D62917753D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13177" y="2077816"/>
            <a:ext cx="5715000" cy="2476499"/>
          </a:xfrm>
        </p:spPr>
        <p:txBody>
          <a:bodyPr anchor="b"/>
          <a:lstStyle>
            <a:lvl1pPr algn="l">
              <a:lnSpc>
                <a:spcPct val="9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Place presentation title here 48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BBB33C-A0EF-4DAE-96F6-5E528C0ED20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14039" y="4720490"/>
            <a:ext cx="5715000" cy="409507"/>
          </a:xfrm>
        </p:spPr>
        <p:txBody>
          <a:bodyPr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b="0" i="0" spc="0">
                <a:solidFill>
                  <a:schemeClr val="tx1"/>
                </a:solidFill>
                <a:latin typeface="GT Sectra Fin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Place subtitle here in GT Sectra Fine 24p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06A9A1-BB92-4DC6-893F-3C43599C724E}"/>
              </a:ext>
            </a:extLst>
          </p:cNvPr>
          <p:cNvSpPr txBox="1"/>
          <p:nvPr userDrawn="1"/>
        </p:nvSpPr>
        <p:spPr>
          <a:xfrm>
            <a:off x="0" y="-257908"/>
            <a:ext cx="6096000" cy="257908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Format Background… &gt; Picture or texture fill &gt; Set to one of the provided selections in the image library</a:t>
            </a: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pic>
        <p:nvPicPr>
          <p:cNvPr id="9" name="Picture 8" descr="A picture containing card, drawing, crosswalk, table&#10;&#10;Description automatically generated">
            <a:extLst>
              <a:ext uri="{FF2B5EF4-FFF2-40B4-BE49-F238E27FC236}">
                <a16:creationId xmlns:a16="http://schemas.microsoft.com/office/drawing/2014/main" id="{A4D6434E-9AC4-1848-9F81-A0C3FC2D0C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31472" y="381001"/>
            <a:ext cx="479527" cy="50773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AE0708C-14FA-4697-91F8-3D82E787396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605" y="6340919"/>
            <a:ext cx="3123065" cy="197730"/>
          </a:xfrm>
          <a:prstGeom prst="rect">
            <a:avLst/>
          </a:prstGeom>
        </p:spPr>
      </p:pic>
      <p:pic>
        <p:nvPicPr>
          <p:cNvPr id="11" name="Picture 10" descr="Logo, company name&#10;&#10;Description automatically generated">
            <a:extLst>
              <a:ext uri="{FF2B5EF4-FFF2-40B4-BE49-F238E27FC236}">
                <a16:creationId xmlns:a16="http://schemas.microsoft.com/office/drawing/2014/main" id="{9D094706-FBBB-4F0F-89EC-C03CE4DE2F7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91425" y="-363636"/>
            <a:ext cx="2969249" cy="1978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3550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720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, Financial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012A0-B153-1842-ABEA-FB2FEFBAB1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5551383F-84AB-8247-AB1C-3B17087488EE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48640" y="1371600"/>
            <a:ext cx="11102023" cy="19389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F403F"/>
                </a:solidFill>
              </a:defRPr>
            </a:lvl1pPr>
            <a:lvl2pPr>
              <a:defRPr>
                <a:solidFill>
                  <a:srgbClr val="3F403F"/>
                </a:solidFill>
              </a:defRPr>
            </a:lvl2pPr>
            <a:lvl3pPr>
              <a:defRPr>
                <a:solidFill>
                  <a:srgbClr val="3F403F"/>
                </a:solidFill>
              </a:defRPr>
            </a:lvl3pPr>
            <a:lvl4pPr>
              <a:defRPr>
                <a:solidFill>
                  <a:srgbClr val="3F403F"/>
                </a:solidFill>
              </a:defRPr>
            </a:lvl4pPr>
            <a:lvl5pPr>
              <a:defRPr>
                <a:solidFill>
                  <a:srgbClr val="3F403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E9D0D49-6424-B54F-B884-EC83077F3A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822960"/>
            <a:ext cx="8705719" cy="3693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cap="none" baseline="0"/>
            </a:lvl1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2569076-FA3B-254E-94C8-0C8F676A724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27779" y="924161"/>
            <a:ext cx="2218059" cy="2462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000" cap="none" baseline="0"/>
            </a:lvl1pPr>
          </a:lstStyle>
          <a:p>
            <a:pPr lvl="0"/>
            <a:r>
              <a:rPr lang="en-US" dirty="0"/>
              <a:t>(Millions)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13D000C-CA2E-7842-A04A-74DFA07AD60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641" y="6034414"/>
            <a:ext cx="6156960" cy="718145"/>
          </a:xfrm>
          <a:prstGeom prst="rect">
            <a:avLst/>
          </a:prstGeom>
        </p:spPr>
        <p:txBody>
          <a:bodyPr wrap="square" bIns="45720" anchor="b" anchorCtr="0">
            <a:spAutoFit/>
          </a:bodyPr>
          <a:lstStyle>
            <a:lvl1pPr marL="114300" indent="-114300">
              <a:lnSpc>
                <a:spcPct val="85000"/>
              </a:lnSpc>
              <a:spcAft>
                <a:spcPts val="200"/>
              </a:spcAft>
              <a:buFont typeface="+mj-lt"/>
              <a:buAutoNum type="arabicPeriod"/>
              <a:tabLst/>
              <a:defRPr sz="800"/>
            </a:lvl1pPr>
          </a:lstStyle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0675FE07-91B4-CB80-684D-152819CAF4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2858093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Financials &amp; 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012A0-B153-1842-ABEA-FB2FEFBAB1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2569076-FA3B-254E-94C8-0C8F676A724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27779" y="924161"/>
            <a:ext cx="2218059" cy="2462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000" cap="none" baseline="0"/>
            </a:lvl1pPr>
          </a:lstStyle>
          <a:p>
            <a:pPr lvl="0"/>
            <a:r>
              <a:rPr lang="en-US" dirty="0"/>
              <a:t>(Millions)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FA1CEC2C-4CFC-BE41-B34A-A833B48CEE1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641" y="6034414"/>
            <a:ext cx="6156960" cy="718145"/>
          </a:xfrm>
          <a:prstGeom prst="rect">
            <a:avLst/>
          </a:prstGeom>
        </p:spPr>
        <p:txBody>
          <a:bodyPr wrap="square" bIns="45720" anchor="b" anchorCtr="0">
            <a:spAutoFit/>
          </a:bodyPr>
          <a:lstStyle>
            <a:lvl1pPr marL="114300" indent="-114300">
              <a:lnSpc>
                <a:spcPct val="85000"/>
              </a:lnSpc>
              <a:spcAft>
                <a:spcPts val="200"/>
              </a:spcAft>
              <a:buFont typeface="+mj-lt"/>
              <a:buAutoNum type="arabicPeriod"/>
              <a:tabLst/>
              <a:defRPr sz="800"/>
            </a:lvl1pPr>
          </a:lstStyle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</a:p>
          <a:p>
            <a:pPr lvl="0"/>
            <a:r>
              <a:rPr lang="en-US" sz="800"/>
              <a:t>Add footnotes here</a:t>
            </a:r>
            <a:endParaRPr lang="en-US"/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B002402-7543-6D87-D794-FE968F3CF8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1343792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Financ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C012A0-B153-1842-ABEA-FB2FEFBAB1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" y="457200"/>
            <a:ext cx="11102023" cy="42473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9F9FCDFC-9DCF-5E49-B920-D08BB6EE9D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640" y="822960"/>
            <a:ext cx="8705719" cy="3693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cap="none" baseline="0"/>
            </a:lvl1pPr>
          </a:lstStyle>
          <a:p>
            <a:pPr lvl="0"/>
            <a:r>
              <a:rPr lang="en-US" dirty="0"/>
              <a:t>Subhead goes her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7023CEB4-A427-5E47-831A-51FFAC0BF8D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427779" y="924161"/>
            <a:ext cx="2218059" cy="246221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000" cap="none" baseline="0"/>
            </a:lvl1pPr>
          </a:lstStyle>
          <a:p>
            <a:pPr lvl="0"/>
            <a:r>
              <a:rPr lang="en-US" dirty="0"/>
              <a:t>(Millions)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85FDB15B-9335-4551-191A-4B2DBDCC69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3563873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40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64.xml"/><Relationship Id="rId7" Type="http://schemas.openxmlformats.org/officeDocument/2006/relationships/image" Target="../media/image3.emf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DFF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1CF326-110E-C646-A3D3-5904ABB045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338" y="457200"/>
            <a:ext cx="11117262" cy="424732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/>
          <a:p>
            <a:r>
              <a:rPr lang="en-US" dirty="0"/>
              <a:t>Title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7AA9A9-7588-9A44-B7E4-470B31F5B9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1338" y="1143000"/>
            <a:ext cx="11117262" cy="1938992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82670B22-F8DE-388A-C956-1950AC334E69}"/>
              </a:ext>
            </a:extLst>
          </p:cNvPr>
          <p:cNvSpPr txBox="1">
            <a:spLocks/>
          </p:cNvSpPr>
          <p:nvPr userDrawn="1"/>
        </p:nvSpPr>
        <p:spPr>
          <a:xfrm>
            <a:off x="11004568" y="6521727"/>
            <a:ext cx="552432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b="0" kern="1200">
                <a:solidFill>
                  <a:srgbClr val="0A4A8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CA5BF-B763-1840-8654-29064379A303}" type="slidenum">
              <a:rPr lang="en-US" smtClean="0">
                <a:solidFill>
                  <a:srgbClr val="404040"/>
                </a:solidFill>
              </a:rPr>
              <a:pPr/>
              <a:t>‹#›</a:t>
            </a:fld>
            <a:endParaRPr lang="en-US" dirty="0">
              <a:solidFill>
                <a:srgbClr val="404040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2E83DE8-8ACF-6C63-61C7-9BB4385A24E4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5863" y="6565392"/>
            <a:ext cx="834268" cy="146304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24D6A5E2-07C7-0190-B23C-4CDA88AEE4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2244025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9" r:id="rId3"/>
    <p:sldLayoutId id="2147483737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8" r:id="rId10"/>
    <p:sldLayoutId id="2147483740" r:id="rId11"/>
    <p:sldLayoutId id="2147483741" r:id="rId12"/>
    <p:sldLayoutId id="2147483742" r:id="rId13"/>
    <p:sldLayoutId id="2147483743" r:id="rId14"/>
    <p:sldLayoutId id="2147483744" r:id="rId15"/>
    <p:sldLayoutId id="2147483748" r:id="rId16"/>
    <p:sldLayoutId id="2147483749" r:id="rId17"/>
    <p:sldLayoutId id="2147483745" r:id="rId18"/>
    <p:sldLayoutId id="2147483746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tabLst/>
        <a:defRPr sz="1800" kern="1200">
          <a:solidFill>
            <a:srgbClr val="3F403F"/>
          </a:solidFill>
          <a:latin typeface="+mn-lt"/>
          <a:ea typeface="+mn-ea"/>
          <a:cs typeface="+mn-cs"/>
        </a:defRPr>
      </a:lvl1pPr>
      <a:lvl2pPr marL="356616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System Font Regular"/>
        <a:buChar char="–"/>
        <a:tabLst/>
        <a:defRPr sz="1800" kern="1200">
          <a:solidFill>
            <a:srgbClr val="3F403F"/>
          </a:solidFill>
          <a:latin typeface="+mn-lt"/>
          <a:ea typeface="+mn-ea"/>
          <a:cs typeface="+mn-cs"/>
        </a:defRPr>
      </a:lvl2pPr>
      <a:lvl3pPr marL="539496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tabLst/>
        <a:defRPr sz="1800" kern="1200">
          <a:solidFill>
            <a:srgbClr val="3F403F"/>
          </a:solidFill>
          <a:latin typeface="+mn-lt"/>
          <a:ea typeface="+mn-ea"/>
          <a:cs typeface="+mn-cs"/>
        </a:defRPr>
      </a:lvl3pPr>
      <a:lvl4pPr marL="722376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System Font Regular"/>
        <a:buChar char="–"/>
        <a:tabLst/>
        <a:defRPr sz="1800" kern="1200">
          <a:solidFill>
            <a:srgbClr val="3F403F"/>
          </a:solidFill>
          <a:latin typeface="+mn-lt"/>
          <a:ea typeface="+mn-ea"/>
          <a:cs typeface="+mn-cs"/>
        </a:defRPr>
      </a:lvl4pPr>
      <a:lvl5pPr marL="905256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tabLst/>
        <a:defRPr sz="1800" kern="1200">
          <a:solidFill>
            <a:srgbClr val="3F403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DFF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1CF326-110E-C646-A3D3-5904ABB045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338" y="457200"/>
            <a:ext cx="11117262" cy="424732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/>
          <a:p>
            <a:r>
              <a:rPr lang="en-US" dirty="0"/>
              <a:t>Title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7AA9A9-7588-9A44-B7E4-470B31F5B9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1338" y="1371600"/>
            <a:ext cx="11117262" cy="1938992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D4866D8-020B-A644-BC1C-8223BB1E646A}"/>
              </a:ext>
            </a:extLst>
          </p:cNvPr>
          <p:cNvSpPr txBox="1">
            <a:spLocks/>
          </p:cNvSpPr>
          <p:nvPr userDrawn="1"/>
        </p:nvSpPr>
        <p:spPr>
          <a:xfrm>
            <a:off x="11098147" y="6521727"/>
            <a:ext cx="552432" cy="230832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b="0" kern="1200">
                <a:solidFill>
                  <a:srgbClr val="0A4A8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CA5BF-B763-1840-8654-29064379A303}" type="slidenum">
              <a:rPr lang="en-US" smtClean="0">
                <a:solidFill>
                  <a:srgbClr val="3F403F"/>
                </a:solidFill>
              </a:rPr>
              <a:pPr/>
              <a:t>‹#›</a:t>
            </a:fld>
            <a:endParaRPr lang="en-US" dirty="0">
              <a:solidFill>
                <a:srgbClr val="3F403F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A40C842-929D-B249-AE3C-3B98C8C2AF30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2247" y="6565392"/>
            <a:ext cx="834268" cy="14630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B221F9A-1023-50BA-3FA0-32A8350BC2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vert="horz" wrap="square" lIns="0" tIns="45720" rIns="0" bIns="45720" rtlCol="0" anchor="b" anchorCtr="0">
            <a:spAutoFit/>
          </a:bodyPr>
          <a:lstStyle>
            <a:lvl1pPr algn="r">
              <a:defRPr sz="900">
                <a:solidFill>
                  <a:srgbClr val="404040"/>
                </a:solidFill>
              </a:defRPr>
            </a:lvl1pPr>
          </a:lstStyle>
          <a:p>
            <a:r>
              <a:rPr lang="en-US" dirty="0"/>
              <a:t>Confidential. For Internal Use Only – Do Not Duplicate or Distribute.</a:t>
            </a:r>
          </a:p>
        </p:txBody>
      </p:sp>
    </p:spTree>
    <p:extLst>
      <p:ext uri="{BB962C8B-B14F-4D97-AF65-F5344CB8AC3E}">
        <p14:creationId xmlns:p14="http://schemas.microsoft.com/office/powerpoint/2010/main" val="3595841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  <p:sldLayoutId id="2147483822" r:id="rId12"/>
    <p:sldLayoutId id="2147483823" r:id="rId13"/>
    <p:sldLayoutId id="2147483824" r:id="rId14"/>
    <p:sldLayoutId id="2147483825" r:id="rId15"/>
    <p:sldLayoutId id="2147483826" r:id="rId16"/>
    <p:sldLayoutId id="2147483827" r:id="rId17"/>
    <p:sldLayoutId id="2147483828" r:id="rId18"/>
    <p:sldLayoutId id="2147483829" r:id="rId19"/>
    <p:sldLayoutId id="2147483830" r:id="rId20"/>
    <p:sldLayoutId id="2147483831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tabLst/>
        <a:defRPr sz="1800" kern="1200">
          <a:solidFill>
            <a:srgbClr val="3F403F"/>
          </a:solidFill>
          <a:latin typeface="+mn-lt"/>
          <a:ea typeface="+mn-ea"/>
          <a:cs typeface="+mn-cs"/>
        </a:defRPr>
      </a:lvl1pPr>
      <a:lvl2pPr marL="356616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System Font Regular"/>
        <a:buChar char="–"/>
        <a:tabLst/>
        <a:defRPr sz="1800" kern="1200">
          <a:solidFill>
            <a:srgbClr val="3F403F"/>
          </a:solidFill>
          <a:latin typeface="+mn-lt"/>
          <a:ea typeface="+mn-ea"/>
          <a:cs typeface="+mn-cs"/>
        </a:defRPr>
      </a:lvl2pPr>
      <a:lvl3pPr marL="539496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tabLst/>
        <a:defRPr sz="1800" kern="1200">
          <a:solidFill>
            <a:srgbClr val="3F403F"/>
          </a:solidFill>
          <a:latin typeface="+mn-lt"/>
          <a:ea typeface="+mn-ea"/>
          <a:cs typeface="+mn-cs"/>
        </a:defRPr>
      </a:lvl3pPr>
      <a:lvl4pPr marL="722376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System Font Regular"/>
        <a:buChar char="–"/>
        <a:tabLst/>
        <a:defRPr sz="1800" kern="1200">
          <a:solidFill>
            <a:srgbClr val="3F403F"/>
          </a:solidFill>
          <a:latin typeface="+mn-lt"/>
          <a:ea typeface="+mn-ea"/>
          <a:cs typeface="+mn-cs"/>
        </a:defRPr>
      </a:lvl4pPr>
      <a:lvl5pPr marL="905256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tabLst/>
        <a:defRPr sz="1800" kern="1200">
          <a:solidFill>
            <a:srgbClr val="3F403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DFF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1CF326-110E-C646-A3D3-5904ABB045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338" y="457200"/>
            <a:ext cx="11117262" cy="424732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/>
          <a:p>
            <a:r>
              <a:rPr lang="en-US" dirty="0"/>
              <a:t>Title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7AA9A9-7588-9A44-B7E4-470B31F5B9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1338" y="1371600"/>
            <a:ext cx="11117262" cy="1938992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D4866D8-020B-A644-BC1C-8223BB1E646A}"/>
              </a:ext>
            </a:extLst>
          </p:cNvPr>
          <p:cNvSpPr txBox="1">
            <a:spLocks/>
          </p:cNvSpPr>
          <p:nvPr userDrawn="1"/>
        </p:nvSpPr>
        <p:spPr>
          <a:xfrm>
            <a:off x="11098147" y="6521727"/>
            <a:ext cx="552432" cy="230832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b="0" kern="1200">
                <a:solidFill>
                  <a:srgbClr val="0A4A8E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CA5BF-B763-1840-8654-29064379A303}" type="slidenum">
              <a:rPr lang="en-US" smtClean="0">
                <a:solidFill>
                  <a:srgbClr val="3F403F"/>
                </a:solidFill>
              </a:rPr>
              <a:pPr/>
              <a:t>‹#›</a:t>
            </a:fld>
            <a:endParaRPr lang="en-US" dirty="0">
              <a:solidFill>
                <a:srgbClr val="3F403F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A40C842-929D-B249-AE3C-3B98C8C2AF30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2247" y="6565392"/>
            <a:ext cx="834268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12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4" r:id="rId2"/>
    <p:sldLayoutId id="2147483885" r:id="rId3"/>
    <p:sldLayoutId id="2147483886" r:id="rId4"/>
    <p:sldLayoutId id="2147483887" r:id="rId5"/>
    <p:sldLayoutId id="2147483888" r:id="rId6"/>
    <p:sldLayoutId id="2147483889" r:id="rId7"/>
    <p:sldLayoutId id="2147483890" r:id="rId8"/>
    <p:sldLayoutId id="2147483891" r:id="rId9"/>
    <p:sldLayoutId id="2147483892" r:id="rId10"/>
    <p:sldLayoutId id="2147483893" r:id="rId11"/>
    <p:sldLayoutId id="2147483894" r:id="rId12"/>
    <p:sldLayoutId id="2147483895" r:id="rId13"/>
    <p:sldLayoutId id="2147483896" r:id="rId14"/>
    <p:sldLayoutId id="2147483897" r:id="rId15"/>
    <p:sldLayoutId id="2147483898" r:id="rId16"/>
    <p:sldLayoutId id="2147483899" r:id="rId17"/>
    <p:sldLayoutId id="2147483900" r:id="rId18"/>
    <p:sldLayoutId id="2147483901" r:id="rId19"/>
    <p:sldLayoutId id="2147483902" r:id="rId20"/>
    <p:sldLayoutId id="2147483903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tabLst/>
        <a:defRPr sz="1800" kern="1200">
          <a:solidFill>
            <a:srgbClr val="3F403F"/>
          </a:solidFill>
          <a:latin typeface="+mn-lt"/>
          <a:ea typeface="+mn-ea"/>
          <a:cs typeface="+mn-cs"/>
        </a:defRPr>
      </a:lvl1pPr>
      <a:lvl2pPr marL="356616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System Font Regular"/>
        <a:buChar char="–"/>
        <a:tabLst/>
        <a:defRPr sz="1800" kern="1200">
          <a:solidFill>
            <a:srgbClr val="3F403F"/>
          </a:solidFill>
          <a:latin typeface="+mn-lt"/>
          <a:ea typeface="+mn-ea"/>
          <a:cs typeface="+mn-cs"/>
        </a:defRPr>
      </a:lvl2pPr>
      <a:lvl3pPr marL="539496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tabLst/>
        <a:defRPr sz="1800" kern="1200">
          <a:solidFill>
            <a:srgbClr val="3F403F"/>
          </a:solidFill>
          <a:latin typeface="+mn-lt"/>
          <a:ea typeface="+mn-ea"/>
          <a:cs typeface="+mn-cs"/>
        </a:defRPr>
      </a:lvl3pPr>
      <a:lvl4pPr marL="722376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System Font Regular"/>
        <a:buChar char="–"/>
        <a:tabLst/>
        <a:defRPr sz="1800" kern="1200">
          <a:solidFill>
            <a:srgbClr val="3F403F"/>
          </a:solidFill>
          <a:latin typeface="+mn-lt"/>
          <a:ea typeface="+mn-ea"/>
          <a:cs typeface="+mn-cs"/>
        </a:defRPr>
      </a:lvl4pPr>
      <a:lvl5pPr marL="905256" indent="-174625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•"/>
        <a:tabLst/>
        <a:defRPr sz="1800" kern="1200">
          <a:solidFill>
            <a:srgbClr val="3F403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166644C-9EE3-4DDE-9EA4-8170690563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940095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166644C-9EE3-4DDE-9EA4-8170690563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>
            <a:extLst>
              <a:ext uri="{FF2B5EF4-FFF2-40B4-BE49-F238E27FC236}">
                <a16:creationId xmlns:a16="http://schemas.microsoft.com/office/drawing/2014/main" id="{8DEAF7F0-ADBE-DA4B-80DE-727BD0E615AA}"/>
              </a:ext>
            </a:extLst>
          </p:cNvPr>
          <p:cNvSpPr txBox="1"/>
          <p:nvPr userDrawn="1"/>
        </p:nvSpPr>
        <p:spPr>
          <a:xfrm>
            <a:off x="8317890" y="6482079"/>
            <a:ext cx="3112110" cy="20320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en-GB" sz="800">
                <a:solidFill>
                  <a:schemeClr val="tx1">
                    <a:alpha val="75000"/>
                  </a:schemeClr>
                </a:solidFill>
              </a:rPr>
              <a:t>Copyright © 2024 Accenture. All rights reserved.</a:t>
            </a:r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54DE5B9-F305-CC4E-9A6A-0DC78956D275}"/>
              </a:ext>
            </a:extLst>
          </p:cNvPr>
          <p:cNvSpPr txBox="1"/>
          <p:nvPr userDrawn="1"/>
        </p:nvSpPr>
        <p:spPr>
          <a:xfrm>
            <a:off x="11430000" y="6480793"/>
            <a:ext cx="381000" cy="2057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fld id="{8A1971D9-5B62-3C46-9EC9-FDAAB88557B2}" type="slidenum">
              <a:rPr lang="en-GB" sz="800" smtClean="0">
                <a:solidFill>
                  <a:schemeClr val="tx1">
                    <a:alpha val="75000"/>
                  </a:schemeClr>
                </a:solidFill>
              </a:rPr>
              <a:t>‹#›</a:t>
            </a:fld>
            <a:endParaRPr lang="en-US" noProof="0">
              <a:solidFill>
                <a:schemeClr val="tx1">
                  <a:alpha val="75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C2DB82-2141-42CD-9AE7-8A744B363FBC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429998" y="6477001"/>
            <a:ext cx="381001" cy="20784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lvl1pPr>
              <a:defRPr lang="en-US" sz="800" smtClean="0">
                <a:noFill/>
              </a:defRPr>
            </a:lvl1pPr>
          </a:lstStyle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7A189F-CDB6-4881-855E-11E780CE46B1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81000" y="380999"/>
            <a:ext cx="11430000" cy="99060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Place headline here (36pt, min 30pt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78F67F-4953-4937-B393-889106DBC906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81000" y="1371600"/>
            <a:ext cx="11430000" cy="4936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First level (copy 20pt)</a:t>
            </a:r>
          </a:p>
          <a:p>
            <a:pPr lvl="1"/>
            <a:r>
              <a:rPr lang="en-US"/>
              <a:t>Second level (bullet 20pt)</a:t>
            </a:r>
          </a:p>
          <a:p>
            <a:pPr lvl="2"/>
            <a:r>
              <a:rPr lang="en-US"/>
              <a:t>Third level (bullet 20pt)</a:t>
            </a:r>
          </a:p>
          <a:p>
            <a:pPr lvl="3"/>
            <a:r>
              <a:rPr lang="en-US"/>
              <a:t>Fourth level (bullet 18pt)</a:t>
            </a:r>
          </a:p>
          <a:p>
            <a:pPr lvl="4"/>
            <a:r>
              <a:rPr lang="en-US"/>
              <a:t>Fifth level (bullet 18pt)</a:t>
            </a:r>
          </a:p>
          <a:p>
            <a:pPr lvl="5"/>
            <a:r>
              <a:rPr lang="en-US"/>
              <a:t>Sixth level (copy 16pt)</a:t>
            </a:r>
          </a:p>
          <a:p>
            <a:pPr lvl="6"/>
            <a:r>
              <a:rPr lang="en-US"/>
              <a:t>Seventh level (small copy 12pt)</a:t>
            </a:r>
          </a:p>
          <a:p>
            <a:pPr lvl="7"/>
            <a:r>
              <a:rPr lang="en-US"/>
              <a:t>EIGHT LEVEL (DESCRIPTOR 10PT)</a:t>
            </a:r>
          </a:p>
          <a:p>
            <a:pPr lvl="8"/>
            <a:r>
              <a:rPr lang="en-US"/>
              <a:t>Ninth level (footer 8pt)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A171160-C7F3-46DE-911A-73C4F50C8896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9787944" y="0"/>
            <a:ext cx="2023056" cy="381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r" defTabSz="914400" rtl="0" eaLnBrk="1" latinLnBrk="0" hangingPunct="1">
              <a:defRPr lang="en-US" sz="800" kern="1200" smtClean="0">
                <a:solidFill>
                  <a:schemeClr val="tx1">
                    <a:alpha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EDCDE1A5-7B8C-446C-B047-DEF343C830D4}" type="datetime2">
              <a:rPr lang="en-US" smtClean="0"/>
              <a:t>Tuesday, April 23, 2024</a:t>
            </a:fld>
            <a:endParaRPr lang="en-US"/>
          </a:p>
        </p:txBody>
      </p:sp>
      <p:pic>
        <p:nvPicPr>
          <p:cNvPr id="6" name="Picture 5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E306151F-579E-4A3E-8949-882557B1D7B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6482516"/>
            <a:ext cx="192024" cy="20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5948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6" r:id="rId1"/>
    <p:sldLayoutId id="2147483907" r:id="rId2"/>
    <p:sldLayoutId id="2147483908" r:id="rId3"/>
  </p:sldLayoutIdLst>
  <p:hf hdr="0" ftr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228600" algn="l" defTabSz="2286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System Font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113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Graphik" panose="020B0503030202060203" pitchFamily="34" charset="0"/>
        <a:buNone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2286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5ACBF0"/>
          </p15:clr>
        </p15:guide>
        <p15:guide id="2" orient="horz" pos="3976">
          <p15:clr>
            <a:srgbClr val="5ACBF0"/>
          </p15:clr>
        </p15:guide>
        <p15:guide id="3" pos="240">
          <p15:clr>
            <a:srgbClr val="5ACBF0"/>
          </p15:clr>
        </p15:guide>
        <p15:guide id="4" pos="7440">
          <p15:clr>
            <a:srgbClr val="5ACBF0"/>
          </p15:clr>
        </p15:guide>
        <p15:guide id="5" orient="horz" pos="4148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5" Type="http://schemas.openxmlformats.org/officeDocument/2006/relationships/customXml" Target="../ink/ink1.xml"/><Relationship Id="rId10" Type="http://schemas.openxmlformats.org/officeDocument/2006/relationships/image" Target="../media/image18.png"/><Relationship Id="rId4" Type="http://schemas.openxmlformats.org/officeDocument/2006/relationships/image" Target="../media/image13.png"/><Relationship Id="rId9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jpg"/><Relationship Id="rId12" Type="http://schemas.openxmlformats.org/officeDocument/2006/relationships/image" Target="../media/image28.jp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0" Type="http://schemas.openxmlformats.org/officeDocument/2006/relationships/image" Target="../media/image26.png"/><Relationship Id="rId4" Type="http://schemas.openxmlformats.org/officeDocument/2006/relationships/image" Target="../media/image20.jpeg"/><Relationship Id="rId9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5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customXml" Target="../ink/ink2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19.png"/><Relationship Id="rId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2.png"/><Relationship Id="rId7" Type="http://schemas.openxmlformats.org/officeDocument/2006/relationships/image" Target="../media/image17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14.png"/><Relationship Id="rId5" Type="http://schemas.openxmlformats.org/officeDocument/2006/relationships/customXml" Target="../ink/ink3.xml"/><Relationship Id="rId4" Type="http://schemas.openxmlformats.org/officeDocument/2006/relationships/image" Target="../media/image13.png"/><Relationship Id="rId9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EBC508-90BC-374B-8FCA-5DF5FAE3F0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noring Our Heritage, Shaping Our Futu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55C2E-4491-AA4D-A86F-4B724D817E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y</a:t>
            </a:r>
            <a:r>
              <a:rPr lang="en-US" cap="none" dirty="0"/>
              <a:t> 2024</a:t>
            </a:r>
          </a:p>
        </p:txBody>
      </p:sp>
    </p:spTree>
    <p:extLst>
      <p:ext uri="{BB962C8B-B14F-4D97-AF65-F5344CB8AC3E}">
        <p14:creationId xmlns:p14="http://schemas.microsoft.com/office/powerpoint/2010/main" val="1904151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79CECA3-F04D-742C-61F8-05A8493CA5E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73000"/>
                </a:schemeClr>
              </a:gs>
              <a:gs pos="50000">
                <a:srgbClr val="0A498E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D52CA2C-C56A-18D5-C844-385DFB5472A9}"/>
              </a:ext>
            </a:extLst>
          </p:cNvPr>
          <p:cNvGrpSpPr/>
          <p:nvPr/>
        </p:nvGrpSpPr>
        <p:grpSpPr>
          <a:xfrm>
            <a:off x="4577196" y="5805612"/>
            <a:ext cx="3037608" cy="880121"/>
            <a:chOff x="2149853" y="3702922"/>
            <a:chExt cx="7137488" cy="2068028"/>
          </a:xfrm>
        </p:grpSpPr>
        <p:pic>
          <p:nvPicPr>
            <p:cNvPr id="19" name="Picture 18" descr="A white numbers on a black background&#10;&#10;Description automatically generated">
              <a:extLst>
                <a:ext uri="{FF2B5EF4-FFF2-40B4-BE49-F238E27FC236}">
                  <a16:creationId xmlns:a16="http://schemas.microsoft.com/office/drawing/2014/main" id="{127D84B6-2388-B29C-AB81-6E625EC2EF8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 am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82564" y="3702922"/>
              <a:ext cx="1900144" cy="1900144"/>
            </a:xfrm>
            <a:prstGeom prst="rect">
              <a:avLst/>
            </a:prstGeom>
          </p:spPr>
        </p:pic>
        <p:pic>
          <p:nvPicPr>
            <p:cNvPr id="21" name="Picture 20" descr="A white text on a black background&#10;&#10;Description automatically generated">
              <a:extLst>
                <a:ext uri="{FF2B5EF4-FFF2-40B4-BE49-F238E27FC236}">
                  <a16:creationId xmlns:a16="http://schemas.microsoft.com/office/drawing/2014/main" id="{4F366707-0B56-7CEA-3D0E-3C323ACC04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25508" y="4209117"/>
              <a:ext cx="1561833" cy="1561833"/>
            </a:xfrm>
            <a:prstGeom prst="rect">
              <a:avLst/>
            </a:prstGeom>
          </p:spPr>
        </p:pic>
        <p:pic>
          <p:nvPicPr>
            <p:cNvPr id="23" name="Picture 22" descr="A white letter on a black background&#10;&#10;Description automatically generated">
              <a:extLst>
                <a:ext uri="{FF2B5EF4-FFF2-40B4-BE49-F238E27FC236}">
                  <a16:creationId xmlns:a16="http://schemas.microsoft.com/office/drawing/2014/main" id="{B3E63945-0B00-19CE-1EC9-2C1772C106F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49853" y="4286559"/>
              <a:ext cx="4284784" cy="745678"/>
            </a:xfrm>
            <a:prstGeom prst="rect">
              <a:avLst/>
            </a:prstGeom>
          </p:spPr>
        </p:pic>
      </p:grpSp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25" name="Ink 24">
                <a:extLst>
                  <a:ext uri="{FF2B5EF4-FFF2-40B4-BE49-F238E27FC236}">
                    <a16:creationId xmlns:a16="http://schemas.microsoft.com/office/drawing/2014/main" id="{25A4A869-B353-A17A-2BF1-F196357DA481}"/>
                  </a:ext>
                </a:extLst>
              </p14:cNvPr>
              <p14:cNvContentPartPr/>
              <p14:nvPr/>
            </p14:nvContentPartPr>
            <p14:xfrm>
              <a:off x="9612683" y="-498711"/>
              <a:ext cx="360" cy="360"/>
            </p14:xfrm>
          </p:contentPart>
        </mc:Choice>
        <mc:Fallback xmlns="">
          <p:pic>
            <p:nvPicPr>
              <p:cNvPr id="25" name="Ink 24">
                <a:extLst>
                  <a:ext uri="{FF2B5EF4-FFF2-40B4-BE49-F238E27FC236}">
                    <a16:creationId xmlns:a16="http://schemas.microsoft.com/office/drawing/2014/main" id="{25A4A869-B353-A17A-2BF1-F196357DA481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9603683" y="-507351"/>
                <a:ext cx="18000" cy="18000"/>
              </a:xfrm>
              <a:prstGeom prst="rect">
                <a:avLst/>
              </a:prstGeom>
            </p:spPr>
          </p:pic>
        </mc:Fallback>
      </mc:AlternateContent>
      <p:grpSp>
        <p:nvGrpSpPr>
          <p:cNvPr id="15" name="Group 14">
            <a:extLst>
              <a:ext uri="{FF2B5EF4-FFF2-40B4-BE49-F238E27FC236}">
                <a16:creationId xmlns:a16="http://schemas.microsoft.com/office/drawing/2014/main" id="{FEFF1A89-E051-4B23-B648-9ECD87400846}"/>
              </a:ext>
            </a:extLst>
          </p:cNvPr>
          <p:cNvGrpSpPr/>
          <p:nvPr/>
        </p:nvGrpSpPr>
        <p:grpSpPr>
          <a:xfrm>
            <a:off x="2496216" y="2289701"/>
            <a:ext cx="6731713" cy="3155846"/>
            <a:chOff x="2923573" y="2046297"/>
            <a:chExt cx="6731713" cy="3155846"/>
          </a:xfrm>
        </p:grpSpPr>
        <p:pic>
          <p:nvPicPr>
            <p:cNvPr id="9" name="Picture 8" descr="A white letter on a black background&#10;&#10;Description automatically generated">
              <a:extLst>
                <a:ext uri="{FF2B5EF4-FFF2-40B4-BE49-F238E27FC236}">
                  <a16:creationId xmlns:a16="http://schemas.microsoft.com/office/drawing/2014/main" id="{44DB486F-BFA2-9385-8104-5DB6DFD3F5F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alphaModFix am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23573" y="2092569"/>
              <a:ext cx="4276969" cy="1166446"/>
            </a:xfrm>
            <a:prstGeom prst="rect">
              <a:avLst/>
            </a:prstGeom>
          </p:spPr>
        </p:pic>
        <p:pic>
          <p:nvPicPr>
            <p:cNvPr id="11" name="Picture 10" descr="A white text on a black background&#10;&#10;Description automatically generated">
              <a:extLst>
                <a:ext uri="{FF2B5EF4-FFF2-40B4-BE49-F238E27FC236}">
                  <a16:creationId xmlns:a16="http://schemas.microsoft.com/office/drawing/2014/main" id="{16F26E81-D168-F0DC-69B9-2974807FE2B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99440" y="2046297"/>
              <a:ext cx="3155846" cy="3155846"/>
            </a:xfrm>
            <a:prstGeom prst="rect">
              <a:avLst/>
            </a:prstGeom>
          </p:spPr>
        </p:pic>
      </p:grpSp>
      <p:pic>
        <p:nvPicPr>
          <p:cNvPr id="30" name="Picture 29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9268125F-915D-101F-2826-F6F308DCB0ED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929" y="-228635"/>
            <a:ext cx="11318142" cy="2549237"/>
          </a:xfrm>
          <a:prstGeom prst="rect">
            <a:avLst/>
          </a:prstGeom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48CE22EA-1CA6-1A74-AD87-AD200FD4EF9E}"/>
              </a:ext>
            </a:extLst>
          </p:cNvPr>
          <p:cNvGrpSpPr/>
          <p:nvPr/>
        </p:nvGrpSpPr>
        <p:grpSpPr>
          <a:xfrm>
            <a:off x="9667177" y="4442343"/>
            <a:ext cx="1926567" cy="2006407"/>
            <a:chOff x="9559040" y="4277083"/>
            <a:chExt cx="2192544" cy="2283406"/>
          </a:xfrm>
        </p:grpSpPr>
        <p:pic>
          <p:nvPicPr>
            <p:cNvPr id="38" name="Picture 37" descr="A white line on a black background&#10;&#10;Description automatically generated">
              <a:extLst>
                <a:ext uri="{FF2B5EF4-FFF2-40B4-BE49-F238E27FC236}">
                  <a16:creationId xmlns:a16="http://schemas.microsoft.com/office/drawing/2014/main" id="{6800AFF6-F6CB-0C4C-8D8B-B638D8BDA4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alphaModFix amt="1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59040" y="4277083"/>
              <a:ext cx="1910356" cy="1910357"/>
            </a:xfrm>
            <a:prstGeom prst="rect">
              <a:avLst/>
            </a:prstGeom>
          </p:spPr>
        </p:pic>
        <p:pic>
          <p:nvPicPr>
            <p:cNvPr id="39" name="Picture 38" descr="A blue arrow on a black background&#10;&#10;Description automatically generated">
              <a:extLst>
                <a:ext uri="{FF2B5EF4-FFF2-40B4-BE49-F238E27FC236}">
                  <a16:creationId xmlns:a16="http://schemas.microsoft.com/office/drawing/2014/main" id="{6FBCF26C-4BDA-D365-1CE3-DAF7DF20C93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alphaModFix amt="1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41228" y="4650132"/>
              <a:ext cx="1910356" cy="191035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51756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0EFDB6C-A767-3C01-CA6D-D08E81453811}"/>
              </a:ext>
            </a:extLst>
          </p:cNvPr>
          <p:cNvSpPr/>
          <p:nvPr/>
        </p:nvSpPr>
        <p:spPr>
          <a:xfrm>
            <a:off x="0" y="346914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73000"/>
                </a:schemeClr>
              </a:gs>
              <a:gs pos="60000">
                <a:srgbClr val="0A498E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B9FB4C55-DBA9-7727-677F-A25901001D2C}"/>
              </a:ext>
            </a:extLst>
          </p:cNvPr>
          <p:cNvGrpSpPr/>
          <p:nvPr/>
        </p:nvGrpSpPr>
        <p:grpSpPr>
          <a:xfrm>
            <a:off x="7902611" y="690448"/>
            <a:ext cx="1285893" cy="1339182"/>
            <a:chOff x="9559040" y="4277083"/>
            <a:chExt cx="2192544" cy="2283406"/>
          </a:xfrm>
        </p:grpSpPr>
        <p:pic>
          <p:nvPicPr>
            <p:cNvPr id="61" name="Picture 60" descr="A white line on a black background&#10;&#10;Description automatically generated">
              <a:extLst>
                <a:ext uri="{FF2B5EF4-FFF2-40B4-BE49-F238E27FC236}">
                  <a16:creationId xmlns:a16="http://schemas.microsoft.com/office/drawing/2014/main" id="{D2455B0D-4369-5D06-0224-B443FFAB894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 amt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59040" y="4277083"/>
              <a:ext cx="1910356" cy="1910357"/>
            </a:xfrm>
            <a:prstGeom prst="rect">
              <a:avLst/>
            </a:prstGeom>
          </p:spPr>
        </p:pic>
        <p:pic>
          <p:nvPicPr>
            <p:cNvPr id="62" name="Picture 61" descr="A blue arrow on a black background&#10;&#10;Description automatically generated">
              <a:extLst>
                <a:ext uri="{FF2B5EF4-FFF2-40B4-BE49-F238E27FC236}">
                  <a16:creationId xmlns:a16="http://schemas.microsoft.com/office/drawing/2014/main" id="{46FCA520-9901-FC35-A59A-9498DE5C200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alphaModFix amt="1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41228" y="4650132"/>
              <a:ext cx="1910356" cy="1910357"/>
            </a:xfrm>
            <a:prstGeom prst="rect">
              <a:avLst/>
            </a:prstGeom>
          </p:spPr>
        </p:pic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79E34751-0263-A78A-E2BD-05ED7AFE76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We’ve Come a Long Way Since 1859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E96760-6482-A1C1-F94F-8005A7B708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Confidential. For Internal Use Only – Do Not Duplicate or Distribute.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6E3E8D3-DD54-F45F-1AF4-C6DDBFC3DBB7}"/>
              </a:ext>
            </a:extLst>
          </p:cNvPr>
          <p:cNvCxnSpPr>
            <a:cxnSpLocks/>
          </p:cNvCxnSpPr>
          <p:nvPr/>
        </p:nvCxnSpPr>
        <p:spPr>
          <a:xfrm>
            <a:off x="582361" y="3688984"/>
            <a:ext cx="11060999" cy="0"/>
          </a:xfrm>
          <a:prstGeom prst="line">
            <a:avLst/>
          </a:prstGeom>
          <a:ln w="47625">
            <a:solidFill>
              <a:schemeClr val="bg1">
                <a:lumMod val="85000"/>
                <a:alpha val="41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>
            <a:extLst>
              <a:ext uri="{FF2B5EF4-FFF2-40B4-BE49-F238E27FC236}">
                <a16:creationId xmlns:a16="http://schemas.microsoft.com/office/drawing/2014/main" id="{6FE158AE-05B8-320C-3EE3-1227A6E4353C}"/>
              </a:ext>
            </a:extLst>
          </p:cNvPr>
          <p:cNvGrpSpPr/>
          <p:nvPr/>
        </p:nvGrpSpPr>
        <p:grpSpPr>
          <a:xfrm>
            <a:off x="359050" y="2050029"/>
            <a:ext cx="2031124" cy="1733957"/>
            <a:chOff x="359050" y="1708066"/>
            <a:chExt cx="2031124" cy="1733957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C74269EE-D17D-DB21-E898-A713EFF3D15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2"/>
            <a:stretch/>
          </p:blipFill>
          <p:spPr>
            <a:xfrm>
              <a:off x="359050" y="1708066"/>
              <a:ext cx="2031124" cy="922373"/>
            </a:xfrm>
            <a:prstGeom prst="rect">
              <a:avLst/>
            </a:prstGeom>
            <a:ln w="57150">
              <a:solidFill>
                <a:schemeClr val="bg1"/>
              </a:solidFill>
            </a:ln>
          </p:spPr>
        </p:pic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3A696E0E-2550-1366-9C9D-93ED364EC90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64781" y="2672862"/>
              <a:ext cx="0" cy="674159"/>
            </a:xfrm>
            <a:prstGeom prst="line">
              <a:avLst/>
            </a:prstGeom>
            <a:ln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713713FD-5BE7-253F-30B6-A16C7EF1C046}"/>
                </a:ext>
              </a:extLst>
            </p:cNvPr>
            <p:cNvSpPr/>
            <p:nvPr/>
          </p:nvSpPr>
          <p:spPr>
            <a:xfrm>
              <a:off x="582361" y="3252018"/>
              <a:ext cx="190005" cy="190005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45A42B45-63F7-D1C9-C200-FEFC95C451B6}"/>
              </a:ext>
            </a:extLst>
          </p:cNvPr>
          <p:cNvGrpSpPr/>
          <p:nvPr/>
        </p:nvGrpSpPr>
        <p:grpSpPr>
          <a:xfrm>
            <a:off x="602544" y="3593982"/>
            <a:ext cx="2440603" cy="2034495"/>
            <a:chOff x="888628" y="3252019"/>
            <a:chExt cx="2440603" cy="2034495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3AB2CEC7-19EE-AA50-B8E5-CB0A6BB8EBD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44067" y="3312654"/>
              <a:ext cx="0" cy="778700"/>
            </a:xfrm>
            <a:prstGeom prst="line">
              <a:avLst/>
            </a:prstGeom>
            <a:ln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BA4D04D-AB50-2EE2-0B91-6CD8CE9A7735}"/>
                </a:ext>
              </a:extLst>
            </p:cNvPr>
            <p:cNvSpPr/>
            <p:nvPr/>
          </p:nvSpPr>
          <p:spPr>
            <a:xfrm>
              <a:off x="2562341" y="3252019"/>
              <a:ext cx="190005" cy="190005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97FDDBC-B797-63CD-ABBE-C32B7690546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88628" y="3672158"/>
              <a:ext cx="2440603" cy="1614356"/>
            </a:xfrm>
            <a:prstGeom prst="rect">
              <a:avLst/>
            </a:prstGeom>
          </p:spPr>
        </p:pic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E83A2413-786F-9D34-346F-21A260EAD53A}"/>
              </a:ext>
            </a:extLst>
          </p:cNvPr>
          <p:cNvGrpSpPr/>
          <p:nvPr/>
        </p:nvGrpSpPr>
        <p:grpSpPr>
          <a:xfrm>
            <a:off x="3309052" y="1755158"/>
            <a:ext cx="1942569" cy="2028828"/>
            <a:chOff x="3946884" y="1413195"/>
            <a:chExt cx="1942569" cy="2028828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47E0419A-1FEA-5908-CC39-61ADF2796D1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946884" y="1413195"/>
              <a:ext cx="1942569" cy="1245089"/>
            </a:xfrm>
            <a:prstGeom prst="rect">
              <a:avLst/>
            </a:prstGeom>
            <a:ln w="57150">
              <a:solidFill>
                <a:schemeClr val="bg1"/>
              </a:solidFill>
            </a:ln>
          </p:spPr>
        </p:pic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2F7D73F6-6E9C-7875-08B5-7D136DDE94E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029304" y="2672862"/>
              <a:ext cx="0" cy="674159"/>
            </a:xfrm>
            <a:prstGeom prst="line">
              <a:avLst/>
            </a:prstGeom>
            <a:ln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C8A1CAF5-C72E-0B21-A78B-7F04024B9B5B}"/>
                </a:ext>
              </a:extLst>
            </p:cNvPr>
            <p:cNvSpPr/>
            <p:nvPr/>
          </p:nvSpPr>
          <p:spPr>
            <a:xfrm>
              <a:off x="3946884" y="3252018"/>
              <a:ext cx="190005" cy="190005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D0BFF08-7ADE-90B3-1774-16BE3A0D82FD}"/>
              </a:ext>
            </a:extLst>
          </p:cNvPr>
          <p:cNvGrpSpPr/>
          <p:nvPr/>
        </p:nvGrpSpPr>
        <p:grpSpPr>
          <a:xfrm>
            <a:off x="4380258" y="3593982"/>
            <a:ext cx="1913934" cy="2445511"/>
            <a:chOff x="4688041" y="3593982"/>
            <a:chExt cx="1913934" cy="2445511"/>
          </a:xfrm>
        </p:grpSpPr>
        <p:pic>
          <p:nvPicPr>
            <p:cNvPr id="15" name="Picture 14" descr="A person standing next to a white truck&#10;&#10;Description automatically generated">
              <a:extLst>
                <a:ext uri="{FF2B5EF4-FFF2-40B4-BE49-F238E27FC236}">
                  <a16:creationId xmlns:a16="http://schemas.microsoft.com/office/drawing/2014/main" id="{8DAAB39A-81F9-CF77-7AF8-7DE0DE3D7DD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88041" y="4490762"/>
              <a:ext cx="1913934" cy="1548731"/>
            </a:xfrm>
            <a:prstGeom prst="rect">
              <a:avLst/>
            </a:prstGeom>
            <a:ln w="57150">
              <a:solidFill>
                <a:schemeClr val="bg1"/>
              </a:solidFill>
            </a:ln>
          </p:spPr>
        </p:pic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8888C138-D000-41AF-F6E3-2B49AEF6C47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644072" y="3654617"/>
              <a:ext cx="0" cy="778700"/>
            </a:xfrm>
            <a:prstGeom prst="line">
              <a:avLst/>
            </a:prstGeom>
            <a:ln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DB011C01-3122-D819-828D-EFB2E7F9F16B}"/>
                </a:ext>
              </a:extLst>
            </p:cNvPr>
            <p:cNvSpPr/>
            <p:nvPr/>
          </p:nvSpPr>
          <p:spPr>
            <a:xfrm>
              <a:off x="5562346" y="3593982"/>
              <a:ext cx="190005" cy="190005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417B878-034E-FA25-A8D8-8F24FABBABD3}"/>
              </a:ext>
            </a:extLst>
          </p:cNvPr>
          <p:cNvGrpSpPr/>
          <p:nvPr/>
        </p:nvGrpSpPr>
        <p:grpSpPr>
          <a:xfrm>
            <a:off x="6524482" y="1460185"/>
            <a:ext cx="1337052" cy="2323801"/>
            <a:chOff x="8224783" y="1460185"/>
            <a:chExt cx="1337052" cy="2323801"/>
          </a:xfrm>
        </p:grpSpPr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931180B4-AB73-D2D2-5D2F-A0BE91691E5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397484" y="3014825"/>
              <a:ext cx="0" cy="674159"/>
            </a:xfrm>
            <a:prstGeom prst="line">
              <a:avLst/>
            </a:prstGeom>
            <a:ln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2F35D694-0367-F978-2BA4-4ED9E1D2967E}"/>
                </a:ext>
              </a:extLst>
            </p:cNvPr>
            <p:cNvSpPr/>
            <p:nvPr/>
          </p:nvSpPr>
          <p:spPr>
            <a:xfrm>
              <a:off x="9314265" y="3593981"/>
              <a:ext cx="190005" cy="190005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Picture 6" descr="A grey box with blue lights&#10;&#10;Description automatically generated">
              <a:extLst>
                <a:ext uri="{FF2B5EF4-FFF2-40B4-BE49-F238E27FC236}">
                  <a16:creationId xmlns:a16="http://schemas.microsoft.com/office/drawing/2014/main" id="{A365D9E9-F7D4-9F39-78F2-D440B505DD3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24783" y="1460185"/>
              <a:ext cx="1337052" cy="1875587"/>
            </a:xfrm>
            <a:prstGeom prst="rect">
              <a:avLst/>
            </a:prstGeom>
          </p:spPr>
        </p:pic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9997928A-2B45-2728-7416-6D978C97F9CC}"/>
              </a:ext>
            </a:extLst>
          </p:cNvPr>
          <p:cNvSpPr txBox="1"/>
          <p:nvPr/>
        </p:nvSpPr>
        <p:spPr>
          <a:xfrm>
            <a:off x="377702" y="3841382"/>
            <a:ext cx="574158" cy="27644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b="1" dirty="0">
                <a:solidFill>
                  <a:schemeClr val="bg1">
                    <a:alpha val="40000"/>
                  </a:schemeClr>
                </a:solidFill>
              </a:rPr>
              <a:t>1859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74158FE-1B4C-16A0-90D8-C0FA37BC3CD8}"/>
              </a:ext>
            </a:extLst>
          </p:cNvPr>
          <p:cNvSpPr txBox="1"/>
          <p:nvPr/>
        </p:nvSpPr>
        <p:spPr>
          <a:xfrm>
            <a:off x="10514840" y="3841382"/>
            <a:ext cx="574158" cy="27644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b="1" dirty="0">
                <a:solidFill>
                  <a:schemeClr val="bg1">
                    <a:alpha val="40000"/>
                  </a:schemeClr>
                </a:solidFill>
              </a:rPr>
              <a:t>2024</a:t>
            </a:r>
          </a:p>
        </p:txBody>
      </p:sp>
      <p:pic>
        <p:nvPicPr>
          <p:cNvPr id="54" name="Picture 53" descr="An orange arrow on a black background&#10;&#10;Description automatically generated">
            <a:extLst>
              <a:ext uri="{FF2B5EF4-FFF2-40B4-BE49-F238E27FC236}">
                <a16:creationId xmlns:a16="http://schemas.microsoft.com/office/drawing/2014/main" id="{74614728-CF82-B4B7-9AEC-2F83D886A61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4008" y="3562960"/>
            <a:ext cx="252046" cy="252046"/>
          </a:xfrm>
          <a:prstGeom prst="rect">
            <a:avLst/>
          </a:prstGeom>
        </p:spPr>
      </p:pic>
      <p:pic>
        <p:nvPicPr>
          <p:cNvPr id="55" name="Picture 54" descr="An orange arrow on a black background&#10;&#10;Description automatically generated">
            <a:extLst>
              <a:ext uri="{FF2B5EF4-FFF2-40B4-BE49-F238E27FC236}">
                <a16:creationId xmlns:a16="http://schemas.microsoft.com/office/drawing/2014/main" id="{02EC09EE-CBCF-2A93-940D-4AAD7310589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4659" y="3562960"/>
            <a:ext cx="252046" cy="252046"/>
          </a:xfrm>
          <a:prstGeom prst="rect">
            <a:avLst/>
          </a:prstGeom>
        </p:spPr>
      </p:pic>
      <p:pic>
        <p:nvPicPr>
          <p:cNvPr id="56" name="Picture 55" descr="An orange arrow on a black background&#10;&#10;Description automatically generated">
            <a:extLst>
              <a:ext uri="{FF2B5EF4-FFF2-40B4-BE49-F238E27FC236}">
                <a16:creationId xmlns:a16="http://schemas.microsoft.com/office/drawing/2014/main" id="{518C5B53-A7E1-7D6B-4038-33BC5FC79D5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0214" y="3562960"/>
            <a:ext cx="252046" cy="252046"/>
          </a:xfrm>
          <a:prstGeom prst="rect">
            <a:avLst/>
          </a:prstGeom>
        </p:spPr>
      </p:pic>
      <p:pic>
        <p:nvPicPr>
          <p:cNvPr id="57" name="Picture 56" descr="An orange arrow on a black background&#10;&#10;Description automatically generated">
            <a:extLst>
              <a:ext uri="{FF2B5EF4-FFF2-40B4-BE49-F238E27FC236}">
                <a16:creationId xmlns:a16="http://schemas.microsoft.com/office/drawing/2014/main" id="{21BB0AC0-5F01-2183-6F34-D59F7CA9C20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4219" y="3562960"/>
            <a:ext cx="252046" cy="252046"/>
          </a:xfrm>
          <a:prstGeom prst="rect">
            <a:avLst/>
          </a:pr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A2591540-3460-2D96-CD60-8F21CD3E8915}"/>
              </a:ext>
            </a:extLst>
          </p:cNvPr>
          <p:cNvGrpSpPr/>
          <p:nvPr/>
        </p:nvGrpSpPr>
        <p:grpSpPr>
          <a:xfrm>
            <a:off x="8019838" y="3428021"/>
            <a:ext cx="1579289" cy="2972779"/>
            <a:chOff x="12169350" y="3428021"/>
            <a:chExt cx="1579289" cy="2972779"/>
          </a:xfrm>
        </p:grpSpPr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6543B340-5C9B-5119-EE77-D5338B7816B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320430" y="3654617"/>
              <a:ext cx="0" cy="778700"/>
            </a:xfrm>
            <a:prstGeom prst="line">
              <a:avLst/>
            </a:prstGeom>
            <a:ln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D3CA4DCE-44DE-741D-BDC6-D151E3BD5F7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2169350" y="3428021"/>
              <a:ext cx="1579289" cy="2972779"/>
            </a:xfrm>
            <a:prstGeom prst="rect">
              <a:avLst/>
            </a:prstGeom>
          </p:spPr>
        </p:pic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6A66C972-3058-DEAB-540C-AF4509CA1CB4}"/>
                </a:ext>
              </a:extLst>
            </p:cNvPr>
            <p:cNvSpPr/>
            <p:nvPr/>
          </p:nvSpPr>
          <p:spPr>
            <a:xfrm>
              <a:off x="12238704" y="3593982"/>
              <a:ext cx="190005" cy="190005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081AAF74-E996-4DEC-6045-2B25B8E1A805}"/>
              </a:ext>
            </a:extLst>
          </p:cNvPr>
          <p:cNvGrpSpPr/>
          <p:nvPr/>
        </p:nvGrpSpPr>
        <p:grpSpPr>
          <a:xfrm>
            <a:off x="7697183" y="863571"/>
            <a:ext cx="1920190" cy="2912343"/>
            <a:chOff x="9464007" y="1172588"/>
            <a:chExt cx="1920190" cy="2912343"/>
          </a:xfrm>
        </p:grpSpPr>
        <p:pic>
          <p:nvPicPr>
            <p:cNvPr id="6" name="Picture 5" descr="A screen shot of a phone&#10;&#10;Description automatically generated">
              <a:extLst>
                <a:ext uri="{FF2B5EF4-FFF2-40B4-BE49-F238E27FC236}">
                  <a16:creationId xmlns:a16="http://schemas.microsoft.com/office/drawing/2014/main" id="{02222C74-D297-1A36-C834-C64039748B0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464007" y="1172588"/>
              <a:ext cx="914400" cy="1841500"/>
            </a:xfrm>
            <a:prstGeom prst="rect">
              <a:avLst/>
            </a:prstGeom>
          </p:spPr>
        </p:pic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8BD49381-A43B-7303-0986-25A0DD707D89}"/>
                </a:ext>
              </a:extLst>
            </p:cNvPr>
            <p:cNvSpPr/>
            <p:nvPr/>
          </p:nvSpPr>
          <p:spPr>
            <a:xfrm>
              <a:off x="11194192" y="3894926"/>
              <a:ext cx="190005" cy="190005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46" name="Picture 45" descr="An orange arrow on a black background&#10;&#10;Description automatically generated">
            <a:extLst>
              <a:ext uri="{FF2B5EF4-FFF2-40B4-BE49-F238E27FC236}">
                <a16:creationId xmlns:a16="http://schemas.microsoft.com/office/drawing/2014/main" id="{A14E0C7D-A526-949D-56D1-C02A71E9FA9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1279" y="3562960"/>
            <a:ext cx="252046" cy="252046"/>
          </a:xfrm>
          <a:prstGeom prst="rect">
            <a:avLst/>
          </a:prstGeom>
        </p:spPr>
      </p:pic>
      <p:grpSp>
        <p:nvGrpSpPr>
          <p:cNvPr id="52" name="Group 51">
            <a:extLst>
              <a:ext uri="{FF2B5EF4-FFF2-40B4-BE49-F238E27FC236}">
                <a16:creationId xmlns:a16="http://schemas.microsoft.com/office/drawing/2014/main" id="{89399072-2486-C77F-A44A-0786CE81DA3C}"/>
              </a:ext>
            </a:extLst>
          </p:cNvPr>
          <p:cNvGrpSpPr/>
          <p:nvPr/>
        </p:nvGrpSpPr>
        <p:grpSpPr>
          <a:xfrm>
            <a:off x="9374825" y="2026600"/>
            <a:ext cx="2053933" cy="1689636"/>
            <a:chOff x="5460630" y="4489902"/>
            <a:chExt cx="2159019" cy="1875816"/>
          </a:xfrm>
        </p:grpSpPr>
        <p:pic>
          <p:nvPicPr>
            <p:cNvPr id="49" name="Picture 48" descr="A white van with blue text on it&#10;&#10;Description automatically generated">
              <a:extLst>
                <a:ext uri="{FF2B5EF4-FFF2-40B4-BE49-F238E27FC236}">
                  <a16:creationId xmlns:a16="http://schemas.microsoft.com/office/drawing/2014/main" id="{3728FD99-A607-BA4A-B1A6-E7ED3B2FE7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60630" y="4489902"/>
              <a:ext cx="2159019" cy="1213295"/>
            </a:xfrm>
            <a:prstGeom prst="rect">
              <a:avLst/>
            </a:prstGeom>
            <a:ln w="57150">
              <a:solidFill>
                <a:schemeClr val="bg1"/>
              </a:solidFill>
            </a:ln>
          </p:spPr>
        </p:pic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BD00F30F-FBDD-8C7D-E3B6-2CAC478401D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615724" y="5703197"/>
              <a:ext cx="0" cy="662521"/>
            </a:xfrm>
            <a:prstGeom prst="line">
              <a:avLst/>
            </a:prstGeom>
            <a:ln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5" name="Picture 64" descr="An orange arrow on a black background&#10;&#10;Description automatically generated">
            <a:extLst>
              <a:ext uri="{FF2B5EF4-FFF2-40B4-BE49-F238E27FC236}">
                <a16:creationId xmlns:a16="http://schemas.microsoft.com/office/drawing/2014/main" id="{584717A9-D79A-94E4-A411-0CBE7DA1D25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1385" y="3562960"/>
            <a:ext cx="252046" cy="252046"/>
          </a:xfrm>
          <a:prstGeom prst="rect">
            <a:avLst/>
          </a:prstGeom>
        </p:spPr>
      </p:pic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9F214F83-1063-AADB-33BB-F4EA6EDECE5A}"/>
              </a:ext>
            </a:extLst>
          </p:cNvPr>
          <p:cNvCxnSpPr>
            <a:cxnSpLocks/>
          </p:cNvCxnSpPr>
          <p:nvPr/>
        </p:nvCxnSpPr>
        <p:spPr>
          <a:xfrm flipH="1" flipV="1">
            <a:off x="8167532" y="4431949"/>
            <a:ext cx="295276" cy="1368"/>
          </a:xfrm>
          <a:prstGeom prst="line">
            <a:avLst/>
          </a:prstGeom>
          <a:ln>
            <a:solidFill>
              <a:schemeClr val="bg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6107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66FEEF9-5D1B-B028-3691-DF1CEF3092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 Have a Winning Strateg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9DF200-0952-971C-BBC4-BDB1DD9FAC6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Investing </a:t>
            </a:r>
            <a:r>
              <a:rPr lang="en-US" sz="1800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n areas that will help us grow and win in the marketplace</a:t>
            </a:r>
            <a:r>
              <a:rPr lang="en-US" dirty="0"/>
              <a:t> </a:t>
            </a:r>
          </a:p>
        </p:txBody>
      </p:sp>
      <p:pic>
        <p:nvPicPr>
          <p:cNvPr id="6" name="Picture 5" descr="Timeline&#10;&#10;Description automatically generated with low confidence">
            <a:extLst>
              <a:ext uri="{FF2B5EF4-FFF2-40B4-BE49-F238E27FC236}">
                <a16:creationId xmlns:a16="http://schemas.microsoft.com/office/drawing/2014/main" id="{A25C28D0-9297-AF83-F6F0-186C51F7591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2100" y="1541947"/>
            <a:ext cx="6909080" cy="3826568"/>
          </a:xfrm>
          <a:prstGeom prst="rect">
            <a:avLst/>
          </a:prstGeom>
        </p:spPr>
      </p:pic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474BB75B-0DFF-3AE6-B30D-D3DB2A5B129A}"/>
              </a:ext>
            </a:extLst>
          </p:cNvPr>
          <p:cNvSpPr txBox="1">
            <a:spLocks/>
          </p:cNvSpPr>
          <p:nvPr/>
        </p:nvSpPr>
        <p:spPr>
          <a:xfrm>
            <a:off x="6269053" y="6521727"/>
            <a:ext cx="3935987" cy="230832"/>
          </a:xfrm>
          <a:prstGeom prst="rect">
            <a:avLst/>
          </a:prstGeom>
        </p:spPr>
        <p:txBody>
          <a:bodyPr rIns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F403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fidential. For Internal Use Only – Do Not Duplicate or Distribute.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F2266F49-6B93-1D5F-0BCE-77EF82B21A98}"/>
              </a:ext>
            </a:extLst>
          </p:cNvPr>
          <p:cNvSpPr txBox="1">
            <a:spLocks/>
          </p:cNvSpPr>
          <p:nvPr/>
        </p:nvSpPr>
        <p:spPr>
          <a:xfrm>
            <a:off x="7923312" y="1617525"/>
            <a:ext cx="3448074" cy="3353060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noAutofit/>
          </a:bodyPr>
          <a:lstStyle>
            <a:lvl1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•"/>
              <a:tabLst/>
              <a:defRPr sz="1800" kern="1200">
                <a:solidFill>
                  <a:srgbClr val="3F403F"/>
                </a:solidFill>
                <a:latin typeface="+mn-lt"/>
                <a:ea typeface="+mn-ea"/>
                <a:cs typeface="+mn-cs"/>
              </a:defRPr>
            </a:lvl1pPr>
            <a:lvl2pPr marL="356616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System Font Regular"/>
              <a:buChar char="–"/>
              <a:tabLst/>
              <a:defRPr sz="1800" kern="1200">
                <a:solidFill>
                  <a:srgbClr val="3F403F"/>
                </a:solidFill>
                <a:latin typeface="+mn-lt"/>
                <a:ea typeface="+mn-ea"/>
                <a:cs typeface="+mn-cs"/>
              </a:defRPr>
            </a:lvl2pPr>
            <a:lvl3pPr marL="539496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•"/>
              <a:tabLst/>
              <a:defRPr sz="1800" kern="1200">
                <a:solidFill>
                  <a:srgbClr val="3F403F"/>
                </a:solidFill>
                <a:latin typeface="+mn-lt"/>
                <a:ea typeface="+mn-ea"/>
                <a:cs typeface="+mn-cs"/>
              </a:defRPr>
            </a:lvl3pPr>
            <a:lvl4pPr marL="722376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System Font Regular"/>
              <a:buChar char="–"/>
              <a:tabLst/>
              <a:defRPr sz="1800" kern="1200">
                <a:solidFill>
                  <a:srgbClr val="3F403F"/>
                </a:solidFill>
                <a:latin typeface="+mn-lt"/>
                <a:ea typeface="+mn-ea"/>
                <a:cs typeface="+mn-cs"/>
              </a:defRPr>
            </a:lvl4pPr>
            <a:lvl5pPr marL="905256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•"/>
              <a:tabLst/>
              <a:defRPr sz="1800" kern="1200">
                <a:solidFill>
                  <a:srgbClr val="3F403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63" indent="0">
              <a:spcAft>
                <a:spcPts val="1200"/>
              </a:spcAft>
              <a:buNone/>
            </a:pP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4 Focus Areas</a:t>
            </a:r>
          </a:p>
          <a:p>
            <a:pPr marL="354013">
              <a:spcAft>
                <a:spcPts val="1200"/>
              </a:spcAft>
            </a:pP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nning with customers and driving operational excellence</a:t>
            </a:r>
          </a:p>
          <a:p>
            <a:pPr marL="354013">
              <a:spcAft>
                <a:spcPts val="1200"/>
              </a:spcAft>
            </a:pP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ing a better employee experience</a:t>
            </a:r>
          </a:p>
          <a:p>
            <a:pPr marL="354013">
              <a:spcAft>
                <a:spcPts val="1200"/>
              </a:spcAft>
            </a:pP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iving profitable growth and improving capital efficiency</a:t>
            </a:r>
          </a:p>
          <a:p>
            <a:pPr marL="354013">
              <a:spcAft>
                <a:spcPts val="1200"/>
              </a:spcAft>
            </a:pP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verage our global scale</a:t>
            </a:r>
          </a:p>
        </p:txBody>
      </p:sp>
    </p:spTree>
    <p:extLst>
      <p:ext uri="{BB962C8B-B14F-4D97-AF65-F5344CB8AC3E}">
        <p14:creationId xmlns:p14="http://schemas.microsoft.com/office/powerpoint/2010/main" val="2743649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04E86A-260D-9292-8080-96F22BC515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78D8D515-511B-A897-3366-50EE9736C9C1}"/>
              </a:ext>
            </a:extLst>
          </p:cNvPr>
          <p:cNvSpPr/>
          <p:nvPr/>
        </p:nvSpPr>
        <p:spPr>
          <a:xfrm>
            <a:off x="633983" y="1357977"/>
            <a:ext cx="5029200" cy="491025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73000"/>
                </a:schemeClr>
              </a:gs>
              <a:gs pos="50000">
                <a:srgbClr val="0A498E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4925627-1809-14EC-BB61-DE0F3B9BC4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w It’s Time to Shape Our Futu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08A8868-0230-89B0-7482-16C8F774A3D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18762" y="1885098"/>
            <a:ext cx="5404186" cy="4293483"/>
          </a:xfrm>
        </p:spPr>
        <p:txBody>
          <a:bodyPr/>
          <a:lstStyle/>
          <a:p>
            <a:pPr marL="300038" marR="0" lvl="0" indent="-166688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5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trong recent financial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esults</a:t>
            </a:r>
          </a:p>
          <a:p>
            <a:pPr marL="300038" marR="0" lvl="0" indent="-1666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trepreneuria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spirit with a drive to serve customers well and “win” in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oca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markets</a:t>
            </a:r>
          </a:p>
          <a:p>
            <a:pPr marL="300038" marR="0" lvl="0" indent="-1666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ep working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knowledg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of in-country operations </a:t>
            </a:r>
          </a:p>
          <a:p>
            <a:pPr marL="300038" marR="0" lvl="0" indent="-1666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trong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rand</a:t>
            </a:r>
          </a:p>
          <a:p>
            <a:pPr marL="300038" marR="0" lvl="0" indent="-1666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85% of employees “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ou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to work at Brink’s”</a:t>
            </a:r>
          </a:p>
          <a:p>
            <a:pPr marL="300038" marR="0" lvl="0" indent="-1666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afe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tegrit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are powerful, pervasive behaviors</a:t>
            </a:r>
          </a:p>
          <a:p>
            <a:pPr marL="300038" marR="0" lvl="0" indent="-1666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ignificant progress made towards </a:t>
            </a:r>
            <a:r>
              <a:rPr lang="en-US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a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initiatives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BC4F83-EE04-A3FA-6D30-E84CE52827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Confidential. For Internal Use Only – Do Not Duplicate or Distribute.</a:t>
            </a:r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9A6C7D9-0516-D199-45D6-7D0BF5A869BB}"/>
              </a:ext>
            </a:extLst>
          </p:cNvPr>
          <p:cNvSpPr txBox="1"/>
          <p:nvPr/>
        </p:nvSpPr>
        <p:spPr>
          <a:xfrm>
            <a:off x="6209099" y="1355152"/>
            <a:ext cx="5029200" cy="461665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50000">
                <a:srgbClr val="FF6B00"/>
              </a:gs>
            </a:gsLst>
            <a:path path="circle">
              <a:fillToRect l="50000" t="50000" r="50000" b="50000"/>
            </a:path>
            <a:tileRect/>
          </a:gradFill>
          <a:ln w="25400">
            <a:noFill/>
          </a:ln>
        </p:spPr>
        <p:txBody>
          <a:bodyPr wrap="square" lIns="91440" tIns="91440" bIns="91440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OUR OPPORTUNITIES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6B2E3C04-DC44-2D84-F295-5132C7C6F75A}"/>
              </a:ext>
            </a:extLst>
          </p:cNvPr>
          <p:cNvSpPr txBox="1">
            <a:spLocks/>
          </p:cNvSpPr>
          <p:nvPr/>
        </p:nvSpPr>
        <p:spPr>
          <a:xfrm>
            <a:off x="6269053" y="1873821"/>
            <a:ext cx="5434261" cy="3470181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marL="1714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•"/>
              <a:tabLst/>
              <a:defRPr sz="1800" kern="1200">
                <a:solidFill>
                  <a:srgbClr val="3F403F"/>
                </a:solidFill>
                <a:latin typeface="+mn-lt"/>
                <a:ea typeface="+mn-ea"/>
                <a:cs typeface="+mn-cs"/>
              </a:defRPr>
            </a:lvl1pPr>
            <a:lvl2pPr marL="356616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System Font Regular"/>
              <a:buChar char="–"/>
              <a:tabLst/>
              <a:defRPr sz="1800" kern="1200">
                <a:solidFill>
                  <a:srgbClr val="3F403F"/>
                </a:solidFill>
                <a:latin typeface="+mn-lt"/>
                <a:ea typeface="+mn-ea"/>
                <a:cs typeface="+mn-cs"/>
              </a:defRPr>
            </a:lvl2pPr>
            <a:lvl3pPr marL="539496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•"/>
              <a:tabLst/>
              <a:defRPr sz="1800" kern="1200">
                <a:solidFill>
                  <a:srgbClr val="3F403F"/>
                </a:solidFill>
                <a:latin typeface="+mn-lt"/>
                <a:ea typeface="+mn-ea"/>
                <a:cs typeface="+mn-cs"/>
              </a:defRPr>
            </a:lvl3pPr>
            <a:lvl4pPr marL="722376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System Font Regular"/>
              <a:buChar char="–"/>
              <a:tabLst/>
              <a:defRPr sz="1800" kern="1200">
                <a:solidFill>
                  <a:srgbClr val="3F403F"/>
                </a:solidFill>
                <a:latin typeface="+mn-lt"/>
                <a:ea typeface="+mn-ea"/>
                <a:cs typeface="+mn-cs"/>
              </a:defRPr>
            </a:lvl4pPr>
            <a:lvl5pPr marL="905256" indent="-1746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•"/>
              <a:tabLst/>
              <a:defRPr sz="1800" kern="1200">
                <a:solidFill>
                  <a:srgbClr val="3F403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  <a:spcAft>
                <a:spcPts val="1500"/>
              </a:spcAft>
              <a:defRPr/>
            </a:pPr>
            <a:r>
              <a:rPr lang="en-US" dirty="0">
                <a:solidFill>
                  <a:schemeClr val="tx1"/>
                </a:solidFill>
              </a:rPr>
              <a:t>Work together </a:t>
            </a:r>
            <a:r>
              <a:rPr lang="en-US" b="1" dirty="0">
                <a:solidFill>
                  <a:schemeClr val="tx1"/>
                </a:solidFill>
              </a:rPr>
              <a:t>as one team</a:t>
            </a:r>
          </a:p>
          <a:p>
            <a:pPr marL="182880" indent="-182880">
              <a:spcAft>
                <a:spcPts val="1500"/>
              </a:spcAft>
              <a:defRPr/>
            </a:pPr>
            <a:r>
              <a:rPr lang="en-US" dirty="0">
                <a:solidFill>
                  <a:schemeClr val="tx1"/>
                </a:solidFill>
              </a:rPr>
              <a:t>Position ourselves as </a:t>
            </a:r>
            <a:r>
              <a:rPr lang="en-US" b="1" dirty="0">
                <a:solidFill>
                  <a:schemeClr val="tx1"/>
                </a:solidFill>
              </a:rPr>
              <a:t>partners</a:t>
            </a:r>
            <a:r>
              <a:rPr lang="en-US" dirty="0">
                <a:solidFill>
                  <a:schemeClr val="tx1"/>
                </a:solidFill>
              </a:rPr>
              <a:t> with customers and </a:t>
            </a:r>
            <a:r>
              <a:rPr lang="en-US" b="1" dirty="0">
                <a:solidFill>
                  <a:schemeClr val="tx1"/>
                </a:solidFill>
              </a:rPr>
              <a:t>improve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b="1" dirty="0">
                <a:solidFill>
                  <a:schemeClr val="tx1"/>
                </a:solidFill>
              </a:rPr>
              <a:t>service</a:t>
            </a:r>
          </a:p>
          <a:p>
            <a:pPr marL="182880" indent="-182880">
              <a:spcAft>
                <a:spcPts val="1500"/>
              </a:spcAft>
              <a:defRPr/>
            </a:pPr>
            <a:r>
              <a:rPr lang="en-US" dirty="0">
                <a:solidFill>
                  <a:schemeClr val="tx1"/>
                </a:solidFill>
              </a:rPr>
              <a:t>Take advantage of our </a:t>
            </a:r>
            <a:r>
              <a:rPr lang="en-US" b="1" dirty="0">
                <a:solidFill>
                  <a:schemeClr val="tx1"/>
                </a:solidFill>
              </a:rPr>
              <a:t>global size and reach</a:t>
            </a:r>
          </a:p>
          <a:p>
            <a:pPr marL="182880" indent="-182880">
              <a:spcAft>
                <a:spcPts val="1500"/>
              </a:spcAft>
              <a:defRPr/>
            </a:pPr>
            <a:r>
              <a:rPr lang="en-US" dirty="0">
                <a:solidFill>
                  <a:schemeClr val="tx1"/>
                </a:solidFill>
              </a:rPr>
              <a:t>Modernize and standardize our </a:t>
            </a:r>
            <a:r>
              <a:rPr lang="en-US" b="1" dirty="0">
                <a:solidFill>
                  <a:schemeClr val="tx1"/>
                </a:solidFill>
              </a:rPr>
              <a:t>core infrastructure, technology and systems</a:t>
            </a:r>
          </a:p>
          <a:p>
            <a:r>
              <a:rPr lang="en-US" dirty="0"/>
              <a:t>Build capabilities in </a:t>
            </a:r>
            <a:r>
              <a:rPr lang="en-US" b="1" dirty="0"/>
              <a:t>enterprise functions</a:t>
            </a:r>
          </a:p>
          <a:p>
            <a:r>
              <a:rPr lang="en-US" dirty="0">
                <a:solidFill>
                  <a:schemeClr val="tx1"/>
                </a:solidFill>
              </a:rPr>
              <a:t>Work and collaborate to </a:t>
            </a:r>
            <a:r>
              <a:rPr lang="en-US" b="1" dirty="0">
                <a:solidFill>
                  <a:schemeClr val="tx1"/>
                </a:solidFill>
              </a:rPr>
              <a:t>sell solutions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i="1" dirty="0">
                <a:solidFill>
                  <a:schemeClr val="tx1"/>
                </a:solidFill>
              </a:rPr>
              <a:t>(</a:t>
            </a:r>
            <a:r>
              <a:rPr lang="en-US" dirty="0">
                <a:solidFill>
                  <a:schemeClr val="tx1"/>
                </a:solidFill>
              </a:rPr>
              <a:t>AMS/DRS)</a:t>
            </a:r>
            <a:endParaRPr lang="en-US" i="1" dirty="0">
              <a:solidFill>
                <a:schemeClr val="tx1"/>
              </a:solidFill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FD58CA50-AD87-2B28-DE66-BE981527394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8640" y="822960"/>
            <a:ext cx="11094720" cy="369332"/>
          </a:xfrm>
        </p:spPr>
        <p:txBody>
          <a:bodyPr/>
          <a:lstStyle/>
          <a:p>
            <a:r>
              <a:rPr lang="en-US" dirty="0"/>
              <a:t>Build on our strengths and evolve to drive success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10" name="Ink 9">
                <a:extLst>
                  <a:ext uri="{FF2B5EF4-FFF2-40B4-BE49-F238E27FC236}">
                    <a16:creationId xmlns:a16="http://schemas.microsoft.com/office/drawing/2014/main" id="{3197E07D-4C3F-C8C4-D7DF-D801BB844A0C}"/>
                  </a:ext>
                </a:extLst>
              </p14:cNvPr>
              <p14:cNvContentPartPr/>
              <p14:nvPr/>
            </p14:nvContentPartPr>
            <p14:xfrm>
              <a:off x="826163" y="-510231"/>
              <a:ext cx="360" cy="360"/>
            </p14:xfrm>
          </p:contentPart>
        </mc:Choice>
        <mc:Fallback xmlns="">
          <p:pic>
            <p:nvPicPr>
              <p:cNvPr id="10" name="Ink 9">
                <a:extLst>
                  <a:ext uri="{FF2B5EF4-FFF2-40B4-BE49-F238E27FC236}">
                    <a16:creationId xmlns:a16="http://schemas.microsoft.com/office/drawing/2014/main" id="{3197E07D-4C3F-C8C4-D7DF-D801BB844A0C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817163" y="-519231"/>
                <a:ext cx="18000" cy="18000"/>
              </a:xfrm>
              <a:prstGeom prst="rect">
                <a:avLst/>
              </a:prstGeom>
            </p:spPr>
          </p:pic>
        </mc:Fallback>
      </mc:AlternateContent>
      <p:pic>
        <p:nvPicPr>
          <p:cNvPr id="15" name="Picture 14" descr="A black and orange arrow&#10;&#10;Description automatically generated">
            <a:extLst>
              <a:ext uri="{FF2B5EF4-FFF2-40B4-BE49-F238E27FC236}">
                <a16:creationId xmlns:a16="http://schemas.microsoft.com/office/drawing/2014/main" id="{49524CF0-095E-E458-0DB8-DAF8B970A1B3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3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6933" y="4973781"/>
            <a:ext cx="1520236" cy="1520236"/>
          </a:xfrm>
          <a:prstGeom prst="rect">
            <a:avLst/>
          </a:prstGeom>
        </p:spPr>
      </p:pic>
      <p:pic>
        <p:nvPicPr>
          <p:cNvPr id="12" name="Picture 11" descr="A blue arrow on a black background&#10;&#10;Description automatically generated">
            <a:extLst>
              <a:ext uri="{FF2B5EF4-FFF2-40B4-BE49-F238E27FC236}">
                <a16:creationId xmlns:a16="http://schemas.microsoft.com/office/drawing/2014/main" id="{2DDF241C-F7B0-E9DA-3C85-B8838980744E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1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3560" y="5226244"/>
            <a:ext cx="692765" cy="69276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BBD81EF-D68D-2C63-6B5D-F91852350819}"/>
              </a:ext>
            </a:extLst>
          </p:cNvPr>
          <p:cNvSpPr txBox="1"/>
          <p:nvPr/>
        </p:nvSpPr>
        <p:spPr>
          <a:xfrm>
            <a:off x="633983" y="1355152"/>
            <a:ext cx="5029200" cy="461665"/>
          </a:xfrm>
          <a:prstGeom prst="rect">
            <a:avLst/>
          </a:prstGeom>
          <a:noFill/>
          <a:ln w="25400">
            <a:noFill/>
          </a:ln>
        </p:spPr>
        <p:txBody>
          <a:bodyPr wrap="square" lIns="91440" tIns="91440" bIns="91440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OUR STRENGTHS</a:t>
            </a:r>
          </a:p>
        </p:txBody>
      </p:sp>
    </p:spTree>
    <p:extLst>
      <p:ext uri="{BB962C8B-B14F-4D97-AF65-F5344CB8AC3E}">
        <p14:creationId xmlns:p14="http://schemas.microsoft.com/office/powerpoint/2010/main" val="3034646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CDB5D71-1D02-ED0E-6EDA-98151AB1B0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 Are Making Moves to Build a Better Brink’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5B15AC-2E28-683F-D6FF-05439B6355F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8640" y="822960"/>
            <a:ext cx="11094720" cy="369332"/>
          </a:xfrm>
        </p:spPr>
        <p:txBody>
          <a:bodyPr/>
          <a:lstStyle/>
          <a:p>
            <a:r>
              <a:rPr lang="en-US" dirty="0"/>
              <a:t>Three workstreams designed to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r>
              <a:rPr lang="en-US" sz="1800" kern="1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etter define who we want to </a:t>
            </a:r>
            <a:r>
              <a:rPr lang="en-US" sz="1800" kern="1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be and how we’re going to get ther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EFF8B8B-7EB7-BCA8-5104-4D7914820E42}"/>
              </a:ext>
            </a:extLst>
          </p:cNvPr>
          <p:cNvGrpSpPr/>
          <p:nvPr/>
        </p:nvGrpSpPr>
        <p:grpSpPr>
          <a:xfrm>
            <a:off x="1813288" y="1611173"/>
            <a:ext cx="545622" cy="550546"/>
            <a:chOff x="1813288" y="1611173"/>
            <a:chExt cx="545622" cy="550546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4F310BAF-045E-F0FD-796A-27251B8E6D24}"/>
                </a:ext>
              </a:extLst>
            </p:cNvPr>
            <p:cNvSpPr/>
            <p:nvPr/>
          </p:nvSpPr>
          <p:spPr>
            <a:xfrm>
              <a:off x="1813288" y="1611173"/>
              <a:ext cx="545622" cy="550546"/>
            </a:xfrm>
            <a:prstGeom prst="ellipse">
              <a:avLst/>
            </a:prstGeom>
            <a:gradFill>
              <a:gsLst>
                <a:gs pos="0">
                  <a:schemeClr val="accent3"/>
                </a:gs>
                <a:gs pos="50000">
                  <a:srgbClr val="FF6B00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8D4837E-CDF7-A89D-C990-D2717247912F}"/>
                </a:ext>
              </a:extLst>
            </p:cNvPr>
            <p:cNvSpPr txBox="1"/>
            <p:nvPr/>
          </p:nvSpPr>
          <p:spPr>
            <a:xfrm>
              <a:off x="1871629" y="1631125"/>
              <a:ext cx="42894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accent1"/>
                  </a:solidFill>
                </a:rPr>
                <a:t>1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158F8BD-BF59-7F3E-B5C3-8209B8FE5919}"/>
              </a:ext>
            </a:extLst>
          </p:cNvPr>
          <p:cNvGrpSpPr/>
          <p:nvPr/>
        </p:nvGrpSpPr>
        <p:grpSpPr>
          <a:xfrm>
            <a:off x="5796900" y="1611173"/>
            <a:ext cx="545622" cy="550546"/>
            <a:chOff x="5495513" y="1611173"/>
            <a:chExt cx="545622" cy="550546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F4F2D4B0-D2C4-39F2-127F-868697B29B0F}"/>
                </a:ext>
              </a:extLst>
            </p:cNvPr>
            <p:cNvSpPr/>
            <p:nvPr/>
          </p:nvSpPr>
          <p:spPr>
            <a:xfrm>
              <a:off x="5495513" y="1611173"/>
              <a:ext cx="545622" cy="550546"/>
            </a:xfrm>
            <a:prstGeom prst="ellipse">
              <a:avLst/>
            </a:prstGeom>
            <a:gradFill>
              <a:gsLst>
                <a:gs pos="0">
                  <a:schemeClr val="accent3"/>
                </a:gs>
                <a:gs pos="50000">
                  <a:srgbClr val="FF6B00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accent1"/>
                  </a:solidFill>
                </a:rPr>
                <a:t> 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2B110AD-9E3F-C64C-2645-532F9FAEBD7F}"/>
                </a:ext>
              </a:extLst>
            </p:cNvPr>
            <p:cNvSpPr txBox="1"/>
            <p:nvPr/>
          </p:nvSpPr>
          <p:spPr>
            <a:xfrm>
              <a:off x="5555225" y="1631129"/>
              <a:ext cx="428942" cy="523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accent1"/>
                  </a:solidFill>
                </a:rPr>
                <a:t>2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7307714-10CD-DDA8-F9B9-890459BE7A64}"/>
              </a:ext>
            </a:extLst>
          </p:cNvPr>
          <p:cNvGrpSpPr/>
          <p:nvPr/>
        </p:nvGrpSpPr>
        <p:grpSpPr>
          <a:xfrm>
            <a:off x="9833754" y="1611173"/>
            <a:ext cx="545622" cy="550546"/>
            <a:chOff x="9290210" y="1611173"/>
            <a:chExt cx="545622" cy="550546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AF930A2C-4087-FEE6-185B-F8F47B17AEE9}"/>
                </a:ext>
              </a:extLst>
            </p:cNvPr>
            <p:cNvSpPr/>
            <p:nvPr/>
          </p:nvSpPr>
          <p:spPr>
            <a:xfrm>
              <a:off x="9290210" y="1611173"/>
              <a:ext cx="545622" cy="550546"/>
            </a:xfrm>
            <a:prstGeom prst="ellipse">
              <a:avLst/>
            </a:prstGeom>
            <a:gradFill>
              <a:gsLst>
                <a:gs pos="0">
                  <a:schemeClr val="accent3"/>
                </a:gs>
                <a:gs pos="50000">
                  <a:srgbClr val="FF6B00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accent1"/>
                  </a:solidFill>
                </a:rPr>
                <a:t> 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1EA86A0-54EF-3069-73FF-5BB12EEE8A8C}"/>
                </a:ext>
              </a:extLst>
            </p:cNvPr>
            <p:cNvSpPr txBox="1"/>
            <p:nvPr/>
          </p:nvSpPr>
          <p:spPr>
            <a:xfrm>
              <a:off x="9348550" y="1631128"/>
              <a:ext cx="428942" cy="523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accent1"/>
                  </a:solidFill>
                </a:rPr>
                <a:t>3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3A68338B-2B1A-C92E-69CD-5B84CC06A0A7}"/>
              </a:ext>
            </a:extLst>
          </p:cNvPr>
          <p:cNvGrpSpPr/>
          <p:nvPr/>
        </p:nvGrpSpPr>
        <p:grpSpPr>
          <a:xfrm>
            <a:off x="548640" y="2330973"/>
            <a:ext cx="3478802" cy="1844326"/>
            <a:chOff x="548640" y="2488141"/>
            <a:chExt cx="3478802" cy="1844326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687F7DB-B055-5BFE-E03E-A29A25A85DD0}"/>
                </a:ext>
              </a:extLst>
            </p:cNvPr>
            <p:cNvSpPr txBox="1"/>
            <p:nvPr/>
          </p:nvSpPr>
          <p:spPr>
            <a:xfrm>
              <a:off x="939986" y="2488141"/>
              <a:ext cx="225319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Purpose &amp; Values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0A784BF-C1DF-3DD9-169A-9645036D3BBE}"/>
                </a:ext>
              </a:extLst>
            </p:cNvPr>
            <p:cNvSpPr txBox="1"/>
            <p:nvPr/>
          </p:nvSpPr>
          <p:spPr>
            <a:xfrm>
              <a:off x="548640" y="2893612"/>
              <a:ext cx="3478802" cy="14388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7800" indent="-177800">
                <a:spcAft>
                  <a:spcPts val="900"/>
                </a:spcAft>
                <a:buFont typeface="Arial" panose="020B0604020202020204" pitchFamily="34" charset="0"/>
                <a:buChar char="•"/>
              </a:pPr>
              <a:r>
                <a:rPr lang="en-US" sz="1600" dirty="0"/>
                <a:t>Define our ‘why’ – our purpose – as a company</a:t>
              </a:r>
            </a:p>
            <a:p>
              <a:pPr marL="177800" indent="-177800">
                <a:spcAft>
                  <a:spcPts val="900"/>
                </a:spcAft>
                <a:buFont typeface="Arial" panose="020B0604020202020204" pitchFamily="34" charset="0"/>
                <a:buChar char="•"/>
              </a:pPr>
              <a:r>
                <a:rPr lang="en-US" sz="1600" dirty="0"/>
                <a:t>Refresh our values and expected behaviors to ensure we drive our desired culture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B99669E-61B9-81AE-0ABC-89DF28725B7D}"/>
              </a:ext>
            </a:extLst>
          </p:cNvPr>
          <p:cNvGrpSpPr/>
          <p:nvPr/>
        </p:nvGrpSpPr>
        <p:grpSpPr>
          <a:xfrm>
            <a:off x="4081545" y="2330973"/>
            <a:ext cx="3706886" cy="2452185"/>
            <a:chOff x="4081545" y="2488141"/>
            <a:chExt cx="3706886" cy="2452185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B37E8B52-D1BD-9DBA-421B-51F2AD510B84}"/>
                </a:ext>
              </a:extLst>
            </p:cNvPr>
            <p:cNvSpPr txBox="1"/>
            <p:nvPr/>
          </p:nvSpPr>
          <p:spPr>
            <a:xfrm>
              <a:off x="4081545" y="2488141"/>
              <a:ext cx="364540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/>
                <a:t>How We Work Together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25F590C6-4497-C0DE-C8BC-2E2055F51CE0}"/>
                </a:ext>
              </a:extLst>
            </p:cNvPr>
            <p:cNvSpPr txBox="1"/>
            <p:nvPr/>
          </p:nvSpPr>
          <p:spPr>
            <a:xfrm>
              <a:off x="4309629" y="2893612"/>
              <a:ext cx="3478802" cy="20467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7800" indent="-177800">
                <a:spcAft>
                  <a:spcPts val="900"/>
                </a:spcAft>
                <a:buFont typeface="Arial" panose="020B0604020202020204" pitchFamily="34" charset="0"/>
                <a:buChar char="•"/>
              </a:pPr>
              <a:r>
                <a:rPr lang="en-US" sz="1600" dirty="0"/>
                <a:t>Find opportunities to work together as one global team</a:t>
              </a:r>
            </a:p>
            <a:p>
              <a:pPr marL="177800" indent="-177800">
                <a:spcAft>
                  <a:spcPts val="90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effectLst/>
                  <a:latin typeface="Arial" panose="020B0604020202020204" pitchFamily="34" charset="0"/>
                  <a:ea typeface="Times New Roman" panose="02020603050405020304" pitchFamily="18" charset="0"/>
                </a:rPr>
                <a:t>Identify shared systems and tools, to allow us to make decisions consistently</a:t>
              </a:r>
            </a:p>
            <a:p>
              <a:pPr marL="177800" indent="-177800">
                <a:spcAft>
                  <a:spcPts val="90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Arial" panose="020B0604020202020204" pitchFamily="34" charset="0"/>
                  <a:ea typeface="Times New Roman" panose="02020603050405020304" pitchFamily="18" charset="0"/>
                </a:rPr>
                <a:t>Look for opportunities to share ideas across geographies</a:t>
              </a:r>
              <a:endParaRPr lang="en-US" sz="1600" dirty="0">
                <a:effectLst/>
                <a:latin typeface="Arial" panose="020B0604020202020204" pitchFamily="34" charset="0"/>
                <a:ea typeface="Times New Roman" panose="02020603050405020304" pitchFamily="18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E7B3216-1C17-DD0F-7F67-05631B4EC1D8}"/>
              </a:ext>
            </a:extLst>
          </p:cNvPr>
          <p:cNvGrpSpPr/>
          <p:nvPr/>
        </p:nvGrpSpPr>
        <p:grpSpPr>
          <a:xfrm>
            <a:off x="8164560" y="2340787"/>
            <a:ext cx="3748823" cy="1857662"/>
            <a:chOff x="8267977" y="2474805"/>
            <a:chExt cx="3645406" cy="1857662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8685130-6AAB-3687-CB87-9168C48E119F}"/>
                </a:ext>
              </a:extLst>
            </p:cNvPr>
            <p:cNvSpPr txBox="1"/>
            <p:nvPr/>
          </p:nvSpPr>
          <p:spPr>
            <a:xfrm>
              <a:off x="8267977" y="2474805"/>
              <a:ext cx="364540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/>
                <a:t>Enhance Functional Capabilities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F5F522C6-40D7-F7B6-2BD0-81D568872E57}"/>
                </a:ext>
              </a:extLst>
            </p:cNvPr>
            <p:cNvSpPr txBox="1"/>
            <p:nvPr/>
          </p:nvSpPr>
          <p:spPr>
            <a:xfrm>
              <a:off x="8369307" y="2893612"/>
              <a:ext cx="3478802" cy="14388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7800" indent="-177800">
                <a:spcAft>
                  <a:spcPts val="90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Build and scale functional impact with technology and improved capabilities</a:t>
              </a:r>
            </a:p>
            <a:p>
              <a:pPr marL="177800" indent="-177800">
                <a:spcAft>
                  <a:spcPts val="90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Leverage our scale to enable </a:t>
              </a:r>
              <a:r>
                <a:rPr lang="en-US" sz="1600">
                  <a:latin typeface="Arial" panose="020B0604020202020204" pitchFamily="34" charset="0"/>
                  <a:cs typeface="Arial" panose="020B0604020202020204" pitchFamily="34" charset="0"/>
                </a:rPr>
                <a:t>functional efficiencies</a:t>
              </a:r>
              <a:endParaRPr lang="en-US" sz="16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881252AF-A646-B3C2-005C-BD041CF0D180}"/>
              </a:ext>
            </a:extLst>
          </p:cNvPr>
          <p:cNvSpPr txBox="1"/>
          <p:nvPr/>
        </p:nvSpPr>
        <p:spPr>
          <a:xfrm>
            <a:off x="375274" y="5260799"/>
            <a:ext cx="34788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POWER THE CULTURE SHIFT TO DRIVE TRANSFORM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B15C8BA-B65D-4770-3D4D-2B47EEAAC50D}"/>
              </a:ext>
            </a:extLst>
          </p:cNvPr>
          <p:cNvSpPr txBox="1"/>
          <p:nvPr/>
        </p:nvSpPr>
        <p:spPr>
          <a:xfrm>
            <a:off x="4099704" y="5257937"/>
            <a:ext cx="39946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STRENGTHEN CONNECTION BETWEEN GLOBAL AND LOCAL, AND REDUCE COMPLEXITI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8882D72-FBA4-7F10-65D1-CFAC43ADDB9B}"/>
              </a:ext>
            </a:extLst>
          </p:cNvPr>
          <p:cNvSpPr txBox="1"/>
          <p:nvPr/>
        </p:nvSpPr>
        <p:spPr>
          <a:xfrm>
            <a:off x="8425694" y="5310462"/>
            <a:ext cx="33617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DELIVER BETTER SERVICE </a:t>
            </a:r>
            <a:br>
              <a:rPr lang="en-US" b="1" dirty="0">
                <a:solidFill>
                  <a:schemeClr val="accent1"/>
                </a:solidFill>
              </a:rPr>
            </a:br>
            <a:r>
              <a:rPr lang="en-US" b="1" dirty="0">
                <a:solidFill>
                  <a:schemeClr val="accent1"/>
                </a:solidFill>
              </a:rPr>
              <a:t>AND RESULTS</a:t>
            </a:r>
          </a:p>
        </p:txBody>
      </p:sp>
      <p:sp>
        <p:nvSpPr>
          <p:cNvPr id="29" name="Down Arrow 28">
            <a:extLst>
              <a:ext uri="{FF2B5EF4-FFF2-40B4-BE49-F238E27FC236}">
                <a16:creationId xmlns:a16="http://schemas.microsoft.com/office/drawing/2014/main" id="{54824875-CB88-CD5D-2D8D-8805F99563AB}"/>
              </a:ext>
            </a:extLst>
          </p:cNvPr>
          <p:cNvSpPr/>
          <p:nvPr/>
        </p:nvSpPr>
        <p:spPr>
          <a:xfrm>
            <a:off x="1874278" y="4750844"/>
            <a:ext cx="484632" cy="518816"/>
          </a:xfrm>
          <a:prstGeom prst="downArrow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Down Arrow 29">
            <a:extLst>
              <a:ext uri="{FF2B5EF4-FFF2-40B4-BE49-F238E27FC236}">
                <a16:creationId xmlns:a16="http://schemas.microsoft.com/office/drawing/2014/main" id="{D2E114DC-AABE-4E5A-E230-0756EB03AFA8}"/>
              </a:ext>
            </a:extLst>
          </p:cNvPr>
          <p:cNvSpPr/>
          <p:nvPr/>
        </p:nvSpPr>
        <p:spPr>
          <a:xfrm>
            <a:off x="5827395" y="4734469"/>
            <a:ext cx="484632" cy="518816"/>
          </a:xfrm>
          <a:prstGeom prst="downArrow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Down Arrow 30">
            <a:extLst>
              <a:ext uri="{FF2B5EF4-FFF2-40B4-BE49-F238E27FC236}">
                <a16:creationId xmlns:a16="http://schemas.microsoft.com/office/drawing/2014/main" id="{FB1387A1-F0E2-0AEB-B8EB-D3E4402300B5}"/>
              </a:ext>
            </a:extLst>
          </p:cNvPr>
          <p:cNvSpPr/>
          <p:nvPr/>
        </p:nvSpPr>
        <p:spPr>
          <a:xfrm>
            <a:off x="9891430" y="4779923"/>
            <a:ext cx="484632" cy="518816"/>
          </a:xfrm>
          <a:prstGeom prst="downArrow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267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1C8117E-6ED1-EAF4-17DE-D40299CF6E1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73000"/>
                </a:schemeClr>
              </a:gs>
              <a:gs pos="50000">
                <a:srgbClr val="0A498E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9B2E185-0FD2-5FD1-DE5E-134DF07682C4}"/>
              </a:ext>
            </a:extLst>
          </p:cNvPr>
          <p:cNvGrpSpPr/>
          <p:nvPr/>
        </p:nvGrpSpPr>
        <p:grpSpPr>
          <a:xfrm>
            <a:off x="4577196" y="5805612"/>
            <a:ext cx="3037608" cy="880121"/>
            <a:chOff x="2149853" y="3702922"/>
            <a:chExt cx="7137488" cy="2068028"/>
          </a:xfrm>
        </p:grpSpPr>
        <p:pic>
          <p:nvPicPr>
            <p:cNvPr id="4" name="Picture 3" descr="A white numbers on a black background&#10;&#10;Description automatically generated">
              <a:extLst>
                <a:ext uri="{FF2B5EF4-FFF2-40B4-BE49-F238E27FC236}">
                  <a16:creationId xmlns:a16="http://schemas.microsoft.com/office/drawing/2014/main" id="{7D2E838A-873E-D5C2-FDD4-585267FB00D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 am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82564" y="3702922"/>
              <a:ext cx="1900144" cy="1900144"/>
            </a:xfrm>
            <a:prstGeom prst="rect">
              <a:avLst/>
            </a:prstGeom>
          </p:spPr>
        </p:pic>
        <p:pic>
          <p:nvPicPr>
            <p:cNvPr id="8" name="Picture 7" descr="A white text on a black background&#10;&#10;Description automatically generated">
              <a:extLst>
                <a:ext uri="{FF2B5EF4-FFF2-40B4-BE49-F238E27FC236}">
                  <a16:creationId xmlns:a16="http://schemas.microsoft.com/office/drawing/2014/main" id="{8323EB62-A2AE-7BE8-D9AE-43EE31186E1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25508" y="4209117"/>
              <a:ext cx="1561833" cy="1561833"/>
            </a:xfrm>
            <a:prstGeom prst="rect">
              <a:avLst/>
            </a:prstGeom>
          </p:spPr>
        </p:pic>
        <p:pic>
          <p:nvPicPr>
            <p:cNvPr id="9" name="Picture 8" descr="A white letter on a black background&#10;&#10;Description automatically generated">
              <a:extLst>
                <a:ext uri="{FF2B5EF4-FFF2-40B4-BE49-F238E27FC236}">
                  <a16:creationId xmlns:a16="http://schemas.microsoft.com/office/drawing/2014/main" id="{056FCD11-335C-6E11-F345-8B9A7E41549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49853" y="4286559"/>
              <a:ext cx="4284784" cy="745678"/>
            </a:xfrm>
            <a:prstGeom prst="rect">
              <a:avLst/>
            </a:prstGeom>
          </p:spPr>
        </p:pic>
      </p:grpSp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10" name="Ink 9">
                <a:extLst>
                  <a:ext uri="{FF2B5EF4-FFF2-40B4-BE49-F238E27FC236}">
                    <a16:creationId xmlns:a16="http://schemas.microsoft.com/office/drawing/2014/main" id="{72035213-152A-8660-9B66-734E5E3ACE80}"/>
                  </a:ext>
                </a:extLst>
              </p14:cNvPr>
              <p14:cNvContentPartPr/>
              <p14:nvPr/>
            </p14:nvContentPartPr>
            <p14:xfrm>
              <a:off x="9612683" y="-498711"/>
              <a:ext cx="360" cy="360"/>
            </p14:xfrm>
          </p:contentPart>
        </mc:Choice>
        <mc:Fallback xmlns="">
          <p:pic>
            <p:nvPicPr>
              <p:cNvPr id="10" name="Ink 9">
                <a:extLst>
                  <a:ext uri="{FF2B5EF4-FFF2-40B4-BE49-F238E27FC236}">
                    <a16:creationId xmlns:a16="http://schemas.microsoft.com/office/drawing/2014/main" id="{72035213-152A-8660-9B66-734E5E3ACE80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9603683" y="-507351"/>
                <a:ext cx="18000" cy="18000"/>
              </a:xfrm>
              <a:prstGeom prst="rect">
                <a:avLst/>
              </a:prstGeom>
            </p:spPr>
          </p:pic>
        </mc:Fallback>
      </mc:AlternateContent>
      <p:pic>
        <p:nvPicPr>
          <p:cNvPr id="17" name="Picture 16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4DBE49B4-3E36-8A6B-68B7-FACFD3DA5DAD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 am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929" y="-228635"/>
            <a:ext cx="11318142" cy="2549237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AEC18B64-A93C-1946-4764-A425E6700660}"/>
              </a:ext>
            </a:extLst>
          </p:cNvPr>
          <p:cNvSpPr txBox="1"/>
          <p:nvPr/>
        </p:nvSpPr>
        <p:spPr>
          <a:xfrm>
            <a:off x="0" y="3145255"/>
            <a:ext cx="12192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best is yet to come.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C6AD316-4C13-BB9C-A94B-7885BF52E611}"/>
              </a:ext>
            </a:extLst>
          </p:cNvPr>
          <p:cNvGrpSpPr/>
          <p:nvPr/>
        </p:nvGrpSpPr>
        <p:grpSpPr>
          <a:xfrm>
            <a:off x="9667177" y="4442343"/>
            <a:ext cx="1926567" cy="2006407"/>
            <a:chOff x="9559040" y="4277083"/>
            <a:chExt cx="2192544" cy="2283406"/>
          </a:xfrm>
        </p:grpSpPr>
        <p:pic>
          <p:nvPicPr>
            <p:cNvPr id="20" name="Picture 19" descr="A white line on a black background&#10;&#10;Description automatically generated">
              <a:extLst>
                <a:ext uri="{FF2B5EF4-FFF2-40B4-BE49-F238E27FC236}">
                  <a16:creationId xmlns:a16="http://schemas.microsoft.com/office/drawing/2014/main" id="{99C4E13A-CEA9-44CC-49CE-92C47921905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alphaModFix amt="1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59040" y="4277083"/>
              <a:ext cx="1910356" cy="1910357"/>
            </a:xfrm>
            <a:prstGeom prst="rect">
              <a:avLst/>
            </a:prstGeom>
          </p:spPr>
        </p:pic>
        <p:pic>
          <p:nvPicPr>
            <p:cNvPr id="21" name="Picture 20" descr="A blue arrow on a black background&#10;&#10;Description automatically generated">
              <a:extLst>
                <a:ext uri="{FF2B5EF4-FFF2-40B4-BE49-F238E27FC236}">
                  <a16:creationId xmlns:a16="http://schemas.microsoft.com/office/drawing/2014/main" id="{0D9A91AE-D72F-9CEC-817C-88A8112A900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alphaModFix amt="1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41228" y="4650132"/>
              <a:ext cx="1910356" cy="191035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49805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rinks_Nov_2022">
  <a:themeElements>
    <a:clrScheme name="Custom 17">
      <a:dk1>
        <a:srgbClr val="3F403F"/>
      </a:dk1>
      <a:lt1>
        <a:srgbClr val="FFFFFF"/>
      </a:lt1>
      <a:dk2>
        <a:srgbClr val="3F403F"/>
      </a:dk2>
      <a:lt2>
        <a:srgbClr val="E7E6E6"/>
      </a:lt2>
      <a:accent1>
        <a:srgbClr val="0A498E"/>
      </a:accent1>
      <a:accent2>
        <a:srgbClr val="97CAEB"/>
      </a:accent2>
      <a:accent3>
        <a:srgbClr val="FFC528"/>
      </a:accent3>
      <a:accent4>
        <a:srgbClr val="64CFE3"/>
      </a:accent4>
      <a:accent5>
        <a:srgbClr val="808383"/>
      </a:accent5>
      <a:accent6>
        <a:srgbClr val="E3E6E8"/>
      </a:accent6>
      <a:hlink>
        <a:srgbClr val="0A498E"/>
      </a:hlink>
      <a:folHlink>
        <a:srgbClr val="0A498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rinks_Feb_2022" id="{E42C2835-9656-B148-A17B-AEB96928FAE2}" vid="{151AB132-B8A9-CE43-8AF7-02E2ED560940}"/>
    </a:ext>
  </a:extLst>
</a:theme>
</file>

<file path=ppt/theme/theme2.xml><?xml version="1.0" encoding="utf-8"?>
<a:theme xmlns:a="http://schemas.openxmlformats.org/drawingml/2006/main" name="1_Brinks_2021">
  <a:themeElements>
    <a:clrScheme name="Custom 17">
      <a:dk1>
        <a:srgbClr val="3F403F"/>
      </a:dk1>
      <a:lt1>
        <a:srgbClr val="FFFFFF"/>
      </a:lt1>
      <a:dk2>
        <a:srgbClr val="3F403F"/>
      </a:dk2>
      <a:lt2>
        <a:srgbClr val="E7E6E6"/>
      </a:lt2>
      <a:accent1>
        <a:srgbClr val="0A498E"/>
      </a:accent1>
      <a:accent2>
        <a:srgbClr val="97CAEB"/>
      </a:accent2>
      <a:accent3>
        <a:srgbClr val="FFC528"/>
      </a:accent3>
      <a:accent4>
        <a:srgbClr val="64CFE3"/>
      </a:accent4>
      <a:accent5>
        <a:srgbClr val="808383"/>
      </a:accent5>
      <a:accent6>
        <a:srgbClr val="E3E6E8"/>
      </a:accent6>
      <a:hlink>
        <a:srgbClr val="0A498E"/>
      </a:hlink>
      <a:folHlink>
        <a:srgbClr val="0A498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rinks_2021" id="{3A1BE4F9-9B4D-144C-822E-051A6246422D}" vid="{334F60E9-B30D-334A-8D7B-653DD383010D}"/>
    </a:ext>
  </a:extLst>
</a:theme>
</file>

<file path=ppt/theme/theme3.xml><?xml version="1.0" encoding="utf-8"?>
<a:theme xmlns:a="http://schemas.openxmlformats.org/drawingml/2006/main" name="3_Brinks_2021">
  <a:themeElements>
    <a:clrScheme name="Custom 17">
      <a:dk1>
        <a:srgbClr val="3F403F"/>
      </a:dk1>
      <a:lt1>
        <a:srgbClr val="FFFFFF"/>
      </a:lt1>
      <a:dk2>
        <a:srgbClr val="3F403F"/>
      </a:dk2>
      <a:lt2>
        <a:srgbClr val="E7E6E6"/>
      </a:lt2>
      <a:accent1>
        <a:srgbClr val="0A498E"/>
      </a:accent1>
      <a:accent2>
        <a:srgbClr val="97CAEB"/>
      </a:accent2>
      <a:accent3>
        <a:srgbClr val="FFC528"/>
      </a:accent3>
      <a:accent4>
        <a:srgbClr val="64CFE3"/>
      </a:accent4>
      <a:accent5>
        <a:srgbClr val="808383"/>
      </a:accent5>
      <a:accent6>
        <a:srgbClr val="E3E6E8"/>
      </a:accent6>
      <a:hlink>
        <a:srgbClr val="0A498E"/>
      </a:hlink>
      <a:folHlink>
        <a:srgbClr val="0A498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rinks_2021" id="{3A1BE4F9-9B4D-144C-822E-051A6246422D}" vid="{334F60E9-B30D-334A-8D7B-653DD383010D}"/>
    </a:ext>
  </a:extLst>
</a:theme>
</file>

<file path=ppt/theme/theme4.xml><?xml version="1.0" encoding="utf-8"?>
<a:theme xmlns:a="http://schemas.openxmlformats.org/drawingml/2006/main" name="1_Office Theme">
  <a:themeElements>
    <a:clrScheme name="Custom 2">
      <a:dk1>
        <a:srgbClr val="000000"/>
      </a:dk1>
      <a:lt1>
        <a:srgbClr val="FFFFFF"/>
      </a:lt1>
      <a:dk2>
        <a:srgbClr val="96968C"/>
      </a:dk2>
      <a:lt2>
        <a:srgbClr val="E6E6DC"/>
      </a:lt2>
      <a:accent1>
        <a:srgbClr val="1E567E"/>
      </a:accent1>
      <a:accent2>
        <a:srgbClr val="A61748"/>
      </a:accent2>
      <a:accent3>
        <a:srgbClr val="FBC42C"/>
      </a:accent3>
      <a:accent4>
        <a:srgbClr val="63CBE3"/>
      </a:accent4>
      <a:accent5>
        <a:srgbClr val="006E43"/>
      </a:accent5>
      <a:accent6>
        <a:srgbClr val="6F1C46"/>
      </a:accent6>
      <a:hlink>
        <a:srgbClr val="1E567E"/>
      </a:hlink>
      <a:folHlink>
        <a:srgbClr val="96968C"/>
      </a:folHlink>
    </a:clrScheme>
    <a:fontScheme name="Accenture - Graphik">
      <a:majorFont>
        <a:latin typeface="Graphik"/>
        <a:ea typeface=""/>
        <a:cs typeface=""/>
      </a:majorFont>
      <a:minorFont>
        <a:latin typeface="Graph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tIns="91440" bIns="9144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 defTabSz="228600">
          <a:spcAft>
            <a:spcPts val="1200"/>
          </a:spcAft>
          <a:defRPr noProof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cc_StratConsultTemplate_Graphik_100820" id="{AA27F5F8-6D96-BB41-9F17-61AB38D4AF3D}" vid="{107E801C-741C-9549-8358-B17D1F5E56CE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c340c4a5-dba4-40f7-acc2-5e803ef0fd14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5781D1B0C81734997FDC3C01F0B15F8" ma:contentTypeVersion="15" ma:contentTypeDescription="Create a new document." ma:contentTypeScope="" ma:versionID="015f0261017f1fca6929ab2d036bcecf">
  <xsd:schema xmlns:xsd="http://www.w3.org/2001/XMLSchema" xmlns:xs="http://www.w3.org/2001/XMLSchema" xmlns:p="http://schemas.microsoft.com/office/2006/metadata/properties" xmlns:ns3="42941483-d1bd-4856-b1b0-203fc7a9d1dc" xmlns:ns4="c340c4a5-dba4-40f7-acc2-5e803ef0fd14" targetNamespace="http://schemas.microsoft.com/office/2006/metadata/properties" ma:root="true" ma:fieldsID="2f222178f49cc7567547bc591673c8b2" ns3:_="" ns4:_="">
    <xsd:import namespace="42941483-d1bd-4856-b1b0-203fc7a9d1dc"/>
    <xsd:import namespace="c340c4a5-dba4-40f7-acc2-5e803ef0fd14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Location" minOccurs="0"/>
                <xsd:element ref="ns4:MediaServiceEventHashCode" minOccurs="0"/>
                <xsd:element ref="ns4:MediaServiceGenerationTime" minOccurs="0"/>
                <xsd:element ref="ns4:MediaServiceAutoKeyPoints" minOccurs="0"/>
                <xsd:element ref="ns4:MediaServiceKeyPoints" minOccurs="0"/>
                <xsd:element ref="ns4:MediaLengthInSeconds" minOccurs="0"/>
                <xsd:element ref="ns4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2941483-d1bd-4856-b1b0-203fc7a9d1d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40c4a5-dba4-40f7-acc2-5e803ef0fd1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28C433E-37E7-41F6-A98C-BE68659BF7A4}">
  <ds:schemaRefs>
    <ds:schemaRef ds:uri="http://purl.org/dc/elements/1.1/"/>
    <ds:schemaRef ds:uri="42941483-d1bd-4856-b1b0-203fc7a9d1dc"/>
    <ds:schemaRef ds:uri="c340c4a5-dba4-40f7-acc2-5e803ef0fd14"/>
    <ds:schemaRef ds:uri="http://schemas.microsoft.com/office/2006/documentManagement/types"/>
    <ds:schemaRef ds:uri="http://www.w3.org/XML/1998/namespace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A9B59774-FE1C-4F47-A48B-B5EAF77617E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2941483-d1bd-4856-b1b0-203fc7a9d1dc"/>
    <ds:schemaRef ds:uri="c340c4a5-dba4-40f7-acc2-5e803ef0fd1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BF4A507-7CEB-4506-86AF-921121E41A6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5640</TotalTime>
  <Words>367</Words>
  <Application>Microsoft Office PowerPoint</Application>
  <PresentationFormat>Widescreen</PresentationFormat>
  <Paragraphs>54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8" baseType="lpstr">
      <vt:lpstr>Arial</vt:lpstr>
      <vt:lpstr>Calibri</vt:lpstr>
      <vt:lpstr>Graphik</vt:lpstr>
      <vt:lpstr>GT Sectra Fine</vt:lpstr>
      <vt:lpstr>System Font</vt:lpstr>
      <vt:lpstr>System Font Regular</vt:lpstr>
      <vt:lpstr>Brinks_Nov_2022</vt:lpstr>
      <vt:lpstr>1_Brinks_2021</vt:lpstr>
      <vt:lpstr>3_Brinks_2021</vt:lpstr>
      <vt:lpstr>1_Office Theme</vt:lpstr>
      <vt:lpstr>think-cell Slide</vt:lpstr>
      <vt:lpstr>Honoring Our Heritage, Shaping Our Future</vt:lpstr>
      <vt:lpstr>PowerPoint Presentation</vt:lpstr>
      <vt:lpstr>We’ve Come a Long Way Since 1859</vt:lpstr>
      <vt:lpstr>We Have a Winning Strategy</vt:lpstr>
      <vt:lpstr>Now It’s Time to Shape Our Future</vt:lpstr>
      <vt:lpstr>We Are Making Moves to Build a Better Brink’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ic Plan Update</dc:title>
  <dc:creator>Dana Callahan</dc:creator>
  <cp:lastModifiedBy>Kelly McNeff</cp:lastModifiedBy>
  <cp:revision>328</cp:revision>
  <cp:lastPrinted>2023-02-25T00:52:19Z</cp:lastPrinted>
  <dcterms:modified xsi:type="dcterms:W3CDTF">2024-04-23T19:55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5781D1B0C81734997FDC3C01F0B15F8</vt:lpwstr>
  </property>
</Properties>
</file>